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</p:sldMasterIdLst>
  <p:notesMasterIdLst>
    <p:notesMasterId r:id="rId6"/>
  </p:notesMasterIdLst>
  <p:sldIdLst>
    <p:sldId id="271" r:id="rId3"/>
    <p:sldId id="257" r:id="rId4"/>
    <p:sldId id="262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24" d="100"/>
          <a:sy n="124" d="100"/>
        </p:scale>
        <p:origin x="520" y="16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ECABEE7-1C1F-4634-8494-5632AB1726C3}" type="datetimeFigureOut">
              <a:rPr lang="en-AU" smtClean="0"/>
              <a:t>10/5/2024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523D44-783E-4EA3-93F3-7B6DE17BC7FD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6043417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29316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260A19-EB33-5B47-AA38-0724F7129A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C2EEC55-9275-0548-9BDE-A98618C8D81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182E7F-3749-4341-AA8A-86F6F0D316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AC9425-2234-4337-83A8-2BCA40686C90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582AEC-86A5-D844-BBED-C577974ECD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674A7D-F3CF-F443-AC80-C2EAE05613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78807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0E1153-6726-0643-A043-2379E41D3E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19514D3-0EDA-8B4F-93DE-4A1789A5571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367B16-C154-A64D-8F29-1FE70B4203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7BDEF0-E09C-4EC7-ACEF-B7D58F73B4E2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9E2370-BEFC-A340-83BD-5AFE1462CD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7BE8A2-2A7B-D942-A2C2-2E85ADDABB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39232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3092095-49C0-734E-A247-DEEEE415C4D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7313638-6A13-094C-B635-32CA53272B7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52558F3-4768-7D46-B545-8C092D7029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A4B5F-141C-4CB0-8325-F048CE0EF8F9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81982D-6AE7-D349-B8A3-FCE2B7A9C7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35246B-AD71-FD40-89B0-DB46C13D7B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37737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0E10061B-789A-42FF-8E62-511FEFCF9B06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DB2AFFF-F2C7-4A37-9B11-BCED3052A8D3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950CC9E-4E8B-411D-952E-1634E9AC07A8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464F084-BD6E-4CC3-9B52-611415964C71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027801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349A7676-8466-46D4-9FFC-7FD6E3131BF3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858C418D-956F-4AF1-A6A9-7E4C99048F0B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A58A304-E741-4720-8523-B207E95758E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169173B-1148-4D80-B303-C318F6FD8CB1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arallelogram 8">
            <a:extLst>
              <a:ext uri="{FF2B5EF4-FFF2-40B4-BE49-F238E27FC236}">
                <a16:creationId xmlns:a16="http://schemas.microsoft.com/office/drawing/2014/main" id="{554FCF65-3F91-426F-8B40-D14449BC4D1E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DD1C0B-FF7F-42EA-82AD-85D6071933A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E9A8563-2B0C-4FB2-89E3-D45F086E8AEF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0FDB6D7F-7078-4E29-BFE4-67F6B1B8B543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6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62681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ayou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ght Triangle 5">
            <a:extLst>
              <a:ext uri="{FF2B5EF4-FFF2-40B4-BE49-F238E27FC236}">
                <a16:creationId xmlns:a16="http://schemas.microsoft.com/office/drawing/2014/main" id="{212A9BDC-F2C2-4267-829C-A309AA2F61DC}"/>
              </a:ext>
            </a:extLst>
          </p:cNvPr>
          <p:cNvSpPr/>
          <p:nvPr userDrawn="1"/>
        </p:nvSpPr>
        <p:spPr>
          <a:xfrm flipH="1" flipV="1">
            <a:off x="2709863" y="0"/>
            <a:ext cx="9482137" cy="5046663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73C9363E-A254-4F77-A0E0-69999E2B6A15}"/>
              </a:ext>
            </a:extLst>
          </p:cNvPr>
          <p:cNvSpPr/>
          <p:nvPr userDrawn="1"/>
        </p:nvSpPr>
        <p:spPr>
          <a:xfrm flipH="1">
            <a:off x="3367088" y="0"/>
            <a:ext cx="3606800" cy="1171575"/>
          </a:xfrm>
          <a:prstGeom prst="parallelogram">
            <a:avLst>
              <a:gd name="adj" fmla="val 186380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06DDF9A-C58D-42CF-AB8B-11B0BDEC57A9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5046663"/>
            <a:ext cx="1524000" cy="1803400"/>
          </a:xfrm>
          <a:prstGeom prst="line">
            <a:avLst/>
          </a:prstGeom>
          <a:ln>
            <a:solidFill>
              <a:srgbClr val="EAB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3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0"/>
          </p:nvPr>
        </p:nvSpPr>
        <p:spPr>
          <a:xfrm>
            <a:off x="6604000" y="0"/>
            <a:ext cx="5588000" cy="6872249"/>
          </a:xfrm>
          <a:custGeom>
            <a:avLst/>
            <a:gdLst>
              <a:gd name="connsiteX0" fmla="*/ 3876237 w 5588000"/>
              <a:gd name="connsiteY0" fmla="*/ 5431883 h 6872249"/>
              <a:gd name="connsiteX1" fmla="*/ 4953000 w 5588000"/>
              <a:gd name="connsiteY1" fmla="*/ 5431883 h 6872249"/>
              <a:gd name="connsiteX2" fmla="*/ 3769163 w 5588000"/>
              <a:gd name="connsiteY2" fmla="*/ 6872249 h 6872249"/>
              <a:gd name="connsiteX3" fmla="*/ 2692400 w 5588000"/>
              <a:gd name="connsiteY3" fmla="*/ 6872249 h 6872249"/>
              <a:gd name="connsiteX4" fmla="*/ 2479230 w 5588000"/>
              <a:gd name="connsiteY4" fmla="*/ 2870200 h 6872249"/>
              <a:gd name="connsiteX5" fmla="*/ 3175000 w 5588000"/>
              <a:gd name="connsiteY5" fmla="*/ 2870200 h 6872249"/>
              <a:gd name="connsiteX6" fmla="*/ 1965770 w 5588000"/>
              <a:gd name="connsiteY6" fmla="*/ 4310566 h 6872249"/>
              <a:gd name="connsiteX7" fmla="*/ 1270000 w 5588000"/>
              <a:gd name="connsiteY7" fmla="*/ 4310566 h 6872249"/>
              <a:gd name="connsiteX8" fmla="*/ 5575300 w 5588000"/>
              <a:gd name="connsiteY8" fmla="*/ 139700 h 6872249"/>
              <a:gd name="connsiteX9" fmla="*/ 5575300 w 5588000"/>
              <a:gd name="connsiteY9" fmla="*/ 3238583 h 6872249"/>
              <a:gd name="connsiteX10" fmla="*/ 2571663 w 5588000"/>
              <a:gd name="connsiteY10" fmla="*/ 6858000 h 6872249"/>
              <a:gd name="connsiteX11" fmla="*/ 0 w 5588000"/>
              <a:gd name="connsiteY11" fmla="*/ 6858000 h 6872249"/>
              <a:gd name="connsiteX12" fmla="*/ 4256761 w 5588000"/>
              <a:gd name="connsiteY12" fmla="*/ 0 h 6872249"/>
              <a:gd name="connsiteX13" fmla="*/ 5588000 w 5588000"/>
              <a:gd name="connsiteY13" fmla="*/ 0 h 6872249"/>
              <a:gd name="connsiteX14" fmla="*/ 3274339 w 5588000"/>
              <a:gd name="connsiteY14" fmla="*/ 2755900 h 6872249"/>
              <a:gd name="connsiteX15" fmla="*/ 1943100 w 5588000"/>
              <a:gd name="connsiteY15" fmla="*/ 2755900 h 6872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588000" h="6872249">
                <a:moveTo>
                  <a:pt x="3876237" y="5431883"/>
                </a:moveTo>
                <a:lnTo>
                  <a:pt x="4953000" y="5431883"/>
                </a:lnTo>
                <a:lnTo>
                  <a:pt x="3769163" y="6872249"/>
                </a:lnTo>
                <a:lnTo>
                  <a:pt x="2692400" y="6872249"/>
                </a:lnTo>
                <a:close/>
                <a:moveTo>
                  <a:pt x="2479230" y="2870200"/>
                </a:moveTo>
                <a:lnTo>
                  <a:pt x="3175000" y="2870200"/>
                </a:lnTo>
                <a:lnTo>
                  <a:pt x="1965770" y="4310566"/>
                </a:lnTo>
                <a:lnTo>
                  <a:pt x="1270000" y="4310566"/>
                </a:lnTo>
                <a:close/>
                <a:moveTo>
                  <a:pt x="5575300" y="139700"/>
                </a:moveTo>
                <a:lnTo>
                  <a:pt x="5575300" y="3238583"/>
                </a:lnTo>
                <a:lnTo>
                  <a:pt x="2571663" y="6858000"/>
                </a:lnTo>
                <a:lnTo>
                  <a:pt x="0" y="6858000"/>
                </a:lnTo>
                <a:close/>
                <a:moveTo>
                  <a:pt x="4256761" y="0"/>
                </a:moveTo>
                <a:lnTo>
                  <a:pt x="5588000" y="0"/>
                </a:lnTo>
                <a:lnTo>
                  <a:pt x="3274339" y="2755900"/>
                </a:lnTo>
                <a:lnTo>
                  <a:pt x="1943100" y="2755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C96E40C6-261A-45B3-826E-E4278438DE7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DAEFDF6-5134-4962-A4BA-D82F2573102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029A5C-AA68-4965-B373-3734E9DE74E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807317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ayou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62B474F-A7F3-4EB7-853B-56B286453377}"/>
              </a:ext>
            </a:extLst>
          </p:cNvPr>
          <p:cNvCxnSpPr>
            <a:cxnSpLocks/>
          </p:cNvCxnSpPr>
          <p:nvPr userDrawn="1"/>
        </p:nvCxnSpPr>
        <p:spPr>
          <a:xfrm flipV="1">
            <a:off x="10352088" y="1185863"/>
            <a:ext cx="1839912" cy="1633537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6170177" y="1435100"/>
            <a:ext cx="6021821" cy="5422900"/>
          </a:xfrm>
          <a:custGeom>
            <a:avLst/>
            <a:gdLst>
              <a:gd name="connsiteX0" fmla="*/ 6021821 w 6021821"/>
              <a:gd name="connsiteY0" fmla="*/ 0 h 5422900"/>
              <a:gd name="connsiteX1" fmla="*/ 6021821 w 6021821"/>
              <a:gd name="connsiteY1" fmla="*/ 5422900 h 5422900"/>
              <a:gd name="connsiteX2" fmla="*/ 0 w 6021821"/>
              <a:gd name="connsiteY2" fmla="*/ 5422900 h 542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021821" h="5422900">
                <a:moveTo>
                  <a:pt x="6021821" y="0"/>
                </a:moveTo>
                <a:lnTo>
                  <a:pt x="6021821" y="5422900"/>
                </a:lnTo>
                <a:lnTo>
                  <a:pt x="0" y="5422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rIns="365760" anchor="ctr">
            <a:noAutofit/>
          </a:bodyPr>
          <a:lstStyle>
            <a:lvl1pPr marL="0" indent="0" algn="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2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47637C30-FCDA-4071-B661-900A99BEF65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AEFC5E06-9E83-45A5-899A-38844A81FF5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4D6332-11CD-4B0D-8E61-97F05DD000C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43251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i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BF809E07-9438-493B-84DC-9A3D52C5632F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9" name="Diagonal Stripe 8">
              <a:extLst>
                <a:ext uri="{FF2B5EF4-FFF2-40B4-BE49-F238E27FC236}">
                  <a16:creationId xmlns:a16="http://schemas.microsoft.com/office/drawing/2014/main" id="{E8A741BE-D973-462A-B31F-D1119410DD74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FEE562DF-D932-444A-891D-E1B5988E6A2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F0C9219B-F30F-4D94-AF5D-7299FE990275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F7718AF8-03E4-4E11-BA70-060AB602B755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7" name="Text Placeholder 2"/>
          <p:cNvSpPr>
            <a:spLocks noGrp="1"/>
          </p:cNvSpPr>
          <p:nvPr>
            <p:ph type="body" idx="1"/>
          </p:nvPr>
        </p:nvSpPr>
        <p:spPr>
          <a:xfrm>
            <a:off x="520698" y="2104888"/>
            <a:ext cx="547529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ontent Placeholder 3" title="Bullet Points"/>
          <p:cNvSpPr>
            <a:spLocks noGrp="1"/>
          </p:cNvSpPr>
          <p:nvPr>
            <p:ph sz="half" idx="13"/>
          </p:nvPr>
        </p:nvSpPr>
        <p:spPr>
          <a:xfrm>
            <a:off x="520698" y="2886076"/>
            <a:ext cx="547529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186713" y="2104888"/>
            <a:ext cx="547560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ontent Placeholder 5" title="Bullet Points"/>
          <p:cNvSpPr>
            <a:spLocks noGrp="1"/>
          </p:cNvSpPr>
          <p:nvPr>
            <p:ph sz="quarter" idx="15"/>
          </p:nvPr>
        </p:nvSpPr>
        <p:spPr>
          <a:xfrm>
            <a:off x="6186713" y="2886076"/>
            <a:ext cx="547560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52E00C1A-7F45-4B84-84C4-D661FE2283D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74B7D399-B7E4-4631-9F17-DDA042F3198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F2BC4F-1CA7-41F0-9E90-DAF11B3BD7C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564867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74F8CC69-6E79-4D54-AC3C-6D5A31C585A4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7" name="Diagonal Stripe 6">
              <a:extLst>
                <a:ext uri="{FF2B5EF4-FFF2-40B4-BE49-F238E27FC236}">
                  <a16:creationId xmlns:a16="http://schemas.microsoft.com/office/drawing/2014/main" id="{53101BE0-1560-4741-B5DE-0A265398C6B5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74EB59D7-551D-4C17-9DC6-286C9E4A68B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arallelogram 8">
            <a:extLst>
              <a:ext uri="{FF2B5EF4-FFF2-40B4-BE49-F238E27FC236}">
                <a16:creationId xmlns:a16="http://schemas.microsoft.com/office/drawing/2014/main" id="{283C0A34-849E-4E11-99AF-456853FA8920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CCBAAC6D-5C29-48D7-85BE-981BAEF2C133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531814" y="2005762"/>
            <a:ext cx="5225764" cy="40838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400">
                <a:solidFill>
                  <a:schemeClr val="bg1"/>
                </a:solidFill>
              </a:defRPr>
            </a:lvl2pPr>
            <a:lvl3pPr marL="914400" indent="0">
              <a:buNone/>
              <a:defRPr sz="2400">
                <a:solidFill>
                  <a:schemeClr val="bg1"/>
                </a:solidFill>
              </a:defRPr>
            </a:lvl3pPr>
            <a:lvl4pPr marL="1371600" indent="0">
              <a:buNone/>
              <a:defRPr sz="2400">
                <a:solidFill>
                  <a:schemeClr val="bg1"/>
                </a:solidFill>
              </a:defRPr>
            </a:lvl4pPr>
            <a:lvl5pPr marL="1828800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hart Placeholder 2" title="Chart"/>
          <p:cNvSpPr>
            <a:spLocks noGrp="1"/>
          </p:cNvSpPr>
          <p:nvPr>
            <p:ph type="chart" sz="quarter" idx="10"/>
          </p:nvPr>
        </p:nvSpPr>
        <p:spPr>
          <a:xfrm>
            <a:off x="5796114" y="2005762"/>
            <a:ext cx="5719397" cy="408447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DD983BA3-455C-424A-A78D-0676A7567CA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97B40409-9726-4941-BBE6-35EEA4756CF5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35A046-9AE0-4777-A9FB-A17C25C310F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748753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C5BA3DBB-C8E3-4563-9224-B54539726D33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6" name="Diagonal Stripe 5">
              <a:extLst>
                <a:ext uri="{FF2B5EF4-FFF2-40B4-BE49-F238E27FC236}">
                  <a16:creationId xmlns:a16="http://schemas.microsoft.com/office/drawing/2014/main" id="{BB4DEC6F-E40C-4ACB-A05E-6971CA60F229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EEB62C46-8E6C-4DFF-867E-2269594BBF1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arallelogram 7">
            <a:extLst>
              <a:ext uri="{FF2B5EF4-FFF2-40B4-BE49-F238E27FC236}">
                <a16:creationId xmlns:a16="http://schemas.microsoft.com/office/drawing/2014/main" id="{FA7F6E8C-4378-49F6-923A-E6F4DD9BC14D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9" name="Parallelogram 8">
            <a:extLst>
              <a:ext uri="{FF2B5EF4-FFF2-40B4-BE49-F238E27FC236}">
                <a16:creationId xmlns:a16="http://schemas.microsoft.com/office/drawing/2014/main" id="{AC03FA4F-714E-4DC2-A142-67931D44E5EB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5" name="Table Placeholder 11" title="Table"/>
          <p:cNvSpPr>
            <a:spLocks noGrp="1"/>
          </p:cNvSpPr>
          <p:nvPr>
            <p:ph type="tbl" sz="quarter" idx="12"/>
          </p:nvPr>
        </p:nvSpPr>
        <p:spPr>
          <a:xfrm>
            <a:off x="531378" y="2664803"/>
            <a:ext cx="10993375" cy="343318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</a:p>
        </p:txBody>
      </p:sp>
      <p:sp>
        <p:nvSpPr>
          <p:cNvPr id="37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43A8D108-CAA5-4662-903C-8055B80EEB9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1679B1CB-81A4-4356-BE47-C9C7C3669C0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1B4081-CD93-4EAC-AFA6-C7C60174FC0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848428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BE0EFE75-2EF4-460E-ACE8-B524801CC739}"/>
              </a:ext>
            </a:extLst>
          </p:cNvPr>
          <p:cNvSpPr/>
          <p:nvPr userDrawn="1"/>
        </p:nvSpPr>
        <p:spPr>
          <a:xfrm flipV="1">
            <a:off x="0" y="0"/>
            <a:ext cx="10810875" cy="5999163"/>
          </a:xfrm>
          <a:prstGeom prst="rt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176F060-E2EE-446B-A919-D16FA988942C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5345113"/>
            <a:ext cx="2362200" cy="1241425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icture Placeholder 31" title="Image"/>
          <p:cNvSpPr>
            <a:spLocks noGrp="1"/>
          </p:cNvSpPr>
          <p:nvPr>
            <p:ph type="pic" sz="quarter" idx="13"/>
          </p:nvPr>
        </p:nvSpPr>
        <p:spPr>
          <a:xfrm>
            <a:off x="359229" y="326570"/>
            <a:ext cx="11473542" cy="620485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0" tIns="0" anchor="ctr"/>
          <a:lstStyle>
            <a:lvl1pPr marL="0" indent="0" algn="ctr">
              <a:buNone/>
              <a:defRPr sz="11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Title 1" title="Title "/>
          <p:cNvSpPr>
            <a:spLocks noGrp="1"/>
          </p:cNvSpPr>
          <p:nvPr>
            <p:ph type="title"/>
          </p:nvPr>
        </p:nvSpPr>
        <p:spPr>
          <a:xfrm>
            <a:off x="359229" y="558802"/>
            <a:ext cx="8333222" cy="939798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 lIns="288000" anchor="ctr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469055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E5E44E-DE65-BD4A-AD6A-912E70E65C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587F1C-78E6-4C46-8379-0AF7269CE8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2A5B83-6083-F748-9509-BFA4FB2242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02DCA7-D6C9-4108-9674-CE34EAF39A52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6CD984-C170-364A-8061-1622AB2C64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94B1B0-0BD6-454C-9764-2708FD2737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531338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4157">
            <a:extLst>
              <a:ext uri="{FF2B5EF4-FFF2-40B4-BE49-F238E27FC236}">
                <a16:creationId xmlns:a16="http://schemas.microsoft.com/office/drawing/2014/main" id="{AF235C6A-29ED-4073-B106-C3E1F76DECDE}"/>
              </a:ext>
            </a:extLst>
          </p:cNvPr>
          <p:cNvSpPr/>
          <p:nvPr userDrawn="1"/>
        </p:nvSpPr>
        <p:spPr>
          <a:xfrm>
            <a:off x="6459538" y="3505200"/>
            <a:ext cx="258762" cy="2587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958" y="17505"/>
                </a:moveTo>
                <a:cubicBezTo>
                  <a:pt x="17372" y="16944"/>
                  <a:pt x="16242" y="15945"/>
                  <a:pt x="15117" y="15413"/>
                </a:cubicBezTo>
                <a:cubicBezTo>
                  <a:pt x="14189" y="14975"/>
                  <a:pt x="13657" y="14531"/>
                  <a:pt x="13491" y="14057"/>
                </a:cubicBezTo>
                <a:cubicBezTo>
                  <a:pt x="13377" y="13728"/>
                  <a:pt x="13428" y="13351"/>
                  <a:pt x="13649" y="12904"/>
                </a:cubicBezTo>
                <a:cubicBezTo>
                  <a:pt x="13815" y="12567"/>
                  <a:pt x="13972" y="12286"/>
                  <a:pt x="14117" y="12028"/>
                </a:cubicBezTo>
                <a:cubicBezTo>
                  <a:pt x="14730" y="10934"/>
                  <a:pt x="15203" y="10145"/>
                  <a:pt x="15203" y="7348"/>
                </a:cubicBezTo>
                <a:cubicBezTo>
                  <a:pt x="15203" y="3162"/>
                  <a:pt x="12787" y="2951"/>
                  <a:pt x="12309" y="2951"/>
                </a:cubicBezTo>
                <a:cubicBezTo>
                  <a:pt x="11917" y="2951"/>
                  <a:pt x="11672" y="3037"/>
                  <a:pt x="11435" y="3121"/>
                </a:cubicBezTo>
                <a:cubicBezTo>
                  <a:pt x="11175" y="3213"/>
                  <a:pt x="10907" y="3309"/>
                  <a:pt x="10296" y="3319"/>
                </a:cubicBezTo>
                <a:cubicBezTo>
                  <a:pt x="9190" y="3337"/>
                  <a:pt x="6873" y="3375"/>
                  <a:pt x="6873" y="7226"/>
                </a:cubicBezTo>
                <a:cubicBezTo>
                  <a:pt x="6873" y="9919"/>
                  <a:pt x="7574" y="11156"/>
                  <a:pt x="8125" y="12150"/>
                </a:cubicBezTo>
                <a:cubicBezTo>
                  <a:pt x="8266" y="12404"/>
                  <a:pt x="8399" y="12645"/>
                  <a:pt x="8505" y="12885"/>
                </a:cubicBezTo>
                <a:cubicBezTo>
                  <a:pt x="8973" y="13949"/>
                  <a:pt x="8631" y="14693"/>
                  <a:pt x="7426" y="15224"/>
                </a:cubicBezTo>
                <a:cubicBezTo>
                  <a:pt x="5905" y="15897"/>
                  <a:pt x="5188" y="16247"/>
                  <a:pt x="3693" y="17562"/>
                </a:cubicBezTo>
                <a:cubicBezTo>
                  <a:pt x="2017" y="15800"/>
                  <a:pt x="982" y="134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95"/>
                  <a:pt x="19603" y="15749"/>
                  <a:pt x="17958" y="17505"/>
                </a:cubicBezTo>
                <a:moveTo>
                  <a:pt x="10800" y="20618"/>
                </a:moveTo>
                <a:cubicBezTo>
                  <a:pt x="8356" y="20618"/>
                  <a:pt x="6125" y="19720"/>
                  <a:pt x="4407" y="18242"/>
                </a:cubicBezTo>
                <a:cubicBezTo>
                  <a:pt x="5730" y="17084"/>
                  <a:pt x="6362" y="16767"/>
                  <a:pt x="7823" y="16122"/>
                </a:cubicBezTo>
                <a:cubicBezTo>
                  <a:pt x="9515" y="15375"/>
                  <a:pt x="10091" y="14051"/>
                  <a:pt x="9403" y="12489"/>
                </a:cubicBezTo>
                <a:cubicBezTo>
                  <a:pt x="9279" y="12208"/>
                  <a:pt x="9136" y="11949"/>
                  <a:pt x="8984" y="11674"/>
                </a:cubicBezTo>
                <a:cubicBezTo>
                  <a:pt x="8461" y="10732"/>
                  <a:pt x="7855" y="9665"/>
                  <a:pt x="7855" y="7226"/>
                </a:cubicBezTo>
                <a:cubicBezTo>
                  <a:pt x="7855" y="4341"/>
                  <a:pt x="9224" y="4318"/>
                  <a:pt x="10312" y="4300"/>
                </a:cubicBezTo>
                <a:cubicBezTo>
                  <a:pt x="11084" y="4287"/>
                  <a:pt x="11461" y="4154"/>
                  <a:pt x="11763" y="4047"/>
                </a:cubicBezTo>
                <a:cubicBezTo>
                  <a:pt x="11964" y="3975"/>
                  <a:pt x="12086" y="3933"/>
                  <a:pt x="12309" y="3933"/>
                </a:cubicBezTo>
                <a:cubicBezTo>
                  <a:pt x="13218" y="3933"/>
                  <a:pt x="14221" y="4830"/>
                  <a:pt x="14221" y="7348"/>
                </a:cubicBezTo>
                <a:cubicBezTo>
                  <a:pt x="14221" y="9888"/>
                  <a:pt x="13840" y="10513"/>
                  <a:pt x="13261" y="11548"/>
                </a:cubicBezTo>
                <a:cubicBezTo>
                  <a:pt x="13108" y="11820"/>
                  <a:pt x="12943" y="12115"/>
                  <a:pt x="12768" y="12470"/>
                </a:cubicBezTo>
                <a:cubicBezTo>
                  <a:pt x="12430" y="13155"/>
                  <a:pt x="12362" y="13798"/>
                  <a:pt x="12565" y="14380"/>
                </a:cubicBezTo>
                <a:cubicBezTo>
                  <a:pt x="12825" y="15126"/>
                  <a:pt x="13502" y="15737"/>
                  <a:pt x="14696" y="16302"/>
                </a:cubicBezTo>
                <a:cubicBezTo>
                  <a:pt x="15675" y="16764"/>
                  <a:pt x="16700" y="17667"/>
                  <a:pt x="17251" y="18189"/>
                </a:cubicBezTo>
                <a:cubicBezTo>
                  <a:pt x="15525" y="19697"/>
                  <a:pt x="13272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2" name="Shape 4186">
            <a:extLst>
              <a:ext uri="{FF2B5EF4-FFF2-40B4-BE49-F238E27FC236}">
                <a16:creationId xmlns:a16="http://schemas.microsoft.com/office/drawing/2014/main" id="{644C4386-1E8C-466E-8DAF-2906658ECD00}"/>
              </a:ext>
            </a:extLst>
          </p:cNvPr>
          <p:cNvSpPr/>
          <p:nvPr userDrawn="1"/>
        </p:nvSpPr>
        <p:spPr>
          <a:xfrm>
            <a:off x="6507163" y="3897313"/>
            <a:ext cx="161925" cy="2968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00" y="1473"/>
                </a:moveTo>
                <a:lnTo>
                  <a:pt x="9900" y="1473"/>
                </a:lnTo>
                <a:cubicBezTo>
                  <a:pt x="9403" y="1473"/>
                  <a:pt x="9000" y="1692"/>
                  <a:pt x="9000" y="1964"/>
                </a:cubicBezTo>
                <a:cubicBezTo>
                  <a:pt x="9000" y="2235"/>
                  <a:pt x="9403" y="2455"/>
                  <a:pt x="9900" y="2455"/>
                </a:cubicBezTo>
                <a:lnTo>
                  <a:pt x="11700" y="2455"/>
                </a:lnTo>
                <a:cubicBezTo>
                  <a:pt x="12197" y="2455"/>
                  <a:pt x="12600" y="2235"/>
                  <a:pt x="12600" y="1964"/>
                </a:cubicBezTo>
                <a:cubicBezTo>
                  <a:pt x="12600" y="1692"/>
                  <a:pt x="12197" y="1473"/>
                  <a:pt x="11700" y="1473"/>
                </a:cubicBezTo>
                <a:moveTo>
                  <a:pt x="19800" y="2945"/>
                </a:moveTo>
                <a:lnTo>
                  <a:pt x="1800" y="2945"/>
                </a:lnTo>
                <a:lnTo>
                  <a:pt x="1800" y="1964"/>
                </a:lnTo>
                <a:cubicBezTo>
                  <a:pt x="1800" y="1422"/>
                  <a:pt x="2605" y="982"/>
                  <a:pt x="3600" y="982"/>
                </a:cubicBezTo>
                <a:lnTo>
                  <a:pt x="18000" y="982"/>
                </a:lnTo>
                <a:cubicBezTo>
                  <a:pt x="18993" y="982"/>
                  <a:pt x="19800" y="1422"/>
                  <a:pt x="19800" y="1964"/>
                </a:cubicBezTo>
                <a:cubicBezTo>
                  <a:pt x="19800" y="1964"/>
                  <a:pt x="19800" y="2945"/>
                  <a:pt x="19800" y="2945"/>
                </a:cubicBezTo>
                <a:close/>
                <a:moveTo>
                  <a:pt x="19800" y="17673"/>
                </a:moveTo>
                <a:lnTo>
                  <a:pt x="1800" y="17673"/>
                </a:lnTo>
                <a:lnTo>
                  <a:pt x="1800" y="3927"/>
                </a:lnTo>
                <a:lnTo>
                  <a:pt x="19800" y="3927"/>
                </a:lnTo>
                <a:cubicBezTo>
                  <a:pt x="19800" y="3927"/>
                  <a:pt x="19800" y="17673"/>
                  <a:pt x="19800" y="17673"/>
                </a:cubicBezTo>
                <a:close/>
                <a:moveTo>
                  <a:pt x="19800" y="19636"/>
                </a:moveTo>
                <a:cubicBezTo>
                  <a:pt x="19800" y="20179"/>
                  <a:pt x="18993" y="20618"/>
                  <a:pt x="18000" y="20618"/>
                </a:cubicBezTo>
                <a:lnTo>
                  <a:pt x="3600" y="20618"/>
                </a:lnTo>
                <a:cubicBezTo>
                  <a:pt x="2605" y="20618"/>
                  <a:pt x="1800" y="20179"/>
                  <a:pt x="1800" y="19636"/>
                </a:cubicBezTo>
                <a:lnTo>
                  <a:pt x="1800" y="18655"/>
                </a:lnTo>
                <a:lnTo>
                  <a:pt x="19800" y="18655"/>
                </a:lnTo>
                <a:cubicBezTo>
                  <a:pt x="19800" y="18655"/>
                  <a:pt x="19800" y="19636"/>
                  <a:pt x="19800" y="19636"/>
                </a:cubicBezTo>
                <a:close/>
                <a:moveTo>
                  <a:pt x="18000" y="0"/>
                </a:moveTo>
                <a:lnTo>
                  <a:pt x="3600" y="0"/>
                </a:lnTo>
                <a:cubicBezTo>
                  <a:pt x="1612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612" y="21600"/>
                  <a:pt x="3600" y="21600"/>
                </a:cubicBezTo>
                <a:lnTo>
                  <a:pt x="18000" y="21600"/>
                </a:lnTo>
                <a:cubicBezTo>
                  <a:pt x="19988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19988" y="0"/>
                  <a:pt x="18000" y="0"/>
                </a:cubicBezTo>
                <a:moveTo>
                  <a:pt x="10800" y="20127"/>
                </a:moveTo>
                <a:cubicBezTo>
                  <a:pt x="11297" y="20127"/>
                  <a:pt x="11700" y="19908"/>
                  <a:pt x="11700" y="19636"/>
                </a:cubicBezTo>
                <a:cubicBezTo>
                  <a:pt x="11700" y="19366"/>
                  <a:pt x="11297" y="19145"/>
                  <a:pt x="10800" y="19145"/>
                </a:cubicBezTo>
                <a:cubicBezTo>
                  <a:pt x="10303" y="19145"/>
                  <a:pt x="9900" y="19366"/>
                  <a:pt x="9900" y="19636"/>
                </a:cubicBezTo>
                <a:cubicBezTo>
                  <a:pt x="9900" y="19908"/>
                  <a:pt x="10303" y="20127"/>
                  <a:pt x="10800" y="20127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4" name="Shape 4379">
            <a:extLst>
              <a:ext uri="{FF2B5EF4-FFF2-40B4-BE49-F238E27FC236}">
                <a16:creationId xmlns:a16="http://schemas.microsoft.com/office/drawing/2014/main" id="{5B1521C3-EF31-4250-A334-B11D8C371C86}"/>
              </a:ext>
            </a:extLst>
          </p:cNvPr>
          <p:cNvSpPr/>
          <p:nvPr userDrawn="1"/>
        </p:nvSpPr>
        <p:spPr>
          <a:xfrm>
            <a:off x="6459538" y="4327525"/>
            <a:ext cx="258762" cy="1889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8900"/>
                </a:moveTo>
                <a:cubicBezTo>
                  <a:pt x="20618" y="18980"/>
                  <a:pt x="20611" y="19058"/>
                  <a:pt x="20601" y="19135"/>
                </a:cubicBezTo>
                <a:lnTo>
                  <a:pt x="14539" y="10800"/>
                </a:lnTo>
                <a:lnTo>
                  <a:pt x="20601" y="2465"/>
                </a:lnTo>
                <a:cubicBezTo>
                  <a:pt x="20611" y="2542"/>
                  <a:pt x="20618" y="2620"/>
                  <a:pt x="20618" y="2700"/>
                </a:cubicBezTo>
                <a:cubicBezTo>
                  <a:pt x="20618" y="2700"/>
                  <a:pt x="20618" y="18900"/>
                  <a:pt x="20618" y="18900"/>
                </a:cubicBezTo>
                <a:close/>
                <a:moveTo>
                  <a:pt x="19636" y="20250"/>
                </a:moveTo>
                <a:lnTo>
                  <a:pt x="1964" y="20250"/>
                </a:lnTo>
                <a:cubicBezTo>
                  <a:pt x="1849" y="20250"/>
                  <a:pt x="1739" y="20218"/>
                  <a:pt x="1637" y="20168"/>
                </a:cubicBezTo>
                <a:lnTo>
                  <a:pt x="7755" y="11754"/>
                </a:lnTo>
                <a:lnTo>
                  <a:pt x="9440" y="14072"/>
                </a:lnTo>
                <a:cubicBezTo>
                  <a:pt x="9816" y="14589"/>
                  <a:pt x="10308" y="14847"/>
                  <a:pt x="10800" y="14847"/>
                </a:cubicBezTo>
                <a:cubicBezTo>
                  <a:pt x="11292" y="14847"/>
                  <a:pt x="11784" y="14589"/>
                  <a:pt x="12159" y="14072"/>
                </a:cubicBezTo>
                <a:lnTo>
                  <a:pt x="13845" y="11754"/>
                </a:lnTo>
                <a:lnTo>
                  <a:pt x="19964" y="20168"/>
                </a:lnTo>
                <a:cubicBezTo>
                  <a:pt x="19861" y="20218"/>
                  <a:pt x="19752" y="20250"/>
                  <a:pt x="19636" y="20250"/>
                </a:cubicBezTo>
                <a:moveTo>
                  <a:pt x="982" y="18900"/>
                </a:moveTo>
                <a:lnTo>
                  <a:pt x="982" y="2700"/>
                </a:lnTo>
                <a:cubicBezTo>
                  <a:pt x="982" y="2620"/>
                  <a:pt x="989" y="2542"/>
                  <a:pt x="999" y="2465"/>
                </a:cubicBezTo>
                <a:lnTo>
                  <a:pt x="7061" y="10800"/>
                </a:lnTo>
                <a:lnTo>
                  <a:pt x="999" y="19135"/>
                </a:lnTo>
                <a:cubicBezTo>
                  <a:pt x="989" y="19058"/>
                  <a:pt x="982" y="18980"/>
                  <a:pt x="982" y="18900"/>
                </a:cubicBezTo>
                <a:moveTo>
                  <a:pt x="1964" y="1350"/>
                </a:moveTo>
                <a:lnTo>
                  <a:pt x="19636" y="1350"/>
                </a:lnTo>
                <a:cubicBezTo>
                  <a:pt x="19752" y="1350"/>
                  <a:pt x="19861" y="1382"/>
                  <a:pt x="19964" y="1433"/>
                </a:cubicBezTo>
                <a:lnTo>
                  <a:pt x="11465" y="13118"/>
                </a:lnTo>
                <a:cubicBezTo>
                  <a:pt x="11288" y="13362"/>
                  <a:pt x="11051" y="13497"/>
                  <a:pt x="10800" y="13497"/>
                </a:cubicBezTo>
                <a:cubicBezTo>
                  <a:pt x="10549" y="13497"/>
                  <a:pt x="10312" y="13362"/>
                  <a:pt x="10134" y="13118"/>
                </a:cubicBezTo>
                <a:lnTo>
                  <a:pt x="1637" y="1433"/>
                </a:lnTo>
                <a:cubicBezTo>
                  <a:pt x="1739" y="1382"/>
                  <a:pt x="1849" y="1350"/>
                  <a:pt x="1964" y="1350"/>
                </a:cubicBezTo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391"/>
                  <a:pt x="21600" y="18900"/>
                </a:cubicBezTo>
                <a:lnTo>
                  <a:pt x="21600" y="2700"/>
                </a:lnTo>
                <a:cubicBezTo>
                  <a:pt x="21600" y="1209"/>
                  <a:pt x="20721" y="0"/>
                  <a:pt x="19636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5" name="Shape 4487">
            <a:extLst>
              <a:ext uri="{FF2B5EF4-FFF2-40B4-BE49-F238E27FC236}">
                <a16:creationId xmlns:a16="http://schemas.microsoft.com/office/drawing/2014/main" id="{1CA615DE-5DF8-48C3-81F3-6E1F11167B25}"/>
              </a:ext>
            </a:extLst>
          </p:cNvPr>
          <p:cNvSpPr/>
          <p:nvPr userDrawn="1"/>
        </p:nvSpPr>
        <p:spPr>
          <a:xfrm>
            <a:off x="6472238" y="4649788"/>
            <a:ext cx="233362" cy="2333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850" y="17620"/>
                </a:moveTo>
                <a:cubicBezTo>
                  <a:pt x="17270" y="17122"/>
                  <a:pt x="16604" y="16682"/>
                  <a:pt x="15855" y="16324"/>
                </a:cubicBezTo>
                <a:cubicBezTo>
                  <a:pt x="15868" y="16284"/>
                  <a:pt x="15882" y="16244"/>
                  <a:pt x="15896" y="16203"/>
                </a:cubicBezTo>
                <a:cubicBezTo>
                  <a:pt x="16131" y="15456"/>
                  <a:pt x="16320" y="14656"/>
                  <a:pt x="16454" y="13811"/>
                </a:cubicBezTo>
                <a:cubicBezTo>
                  <a:pt x="16471" y="13704"/>
                  <a:pt x="16484" y="13596"/>
                  <a:pt x="16499" y="13488"/>
                </a:cubicBezTo>
                <a:cubicBezTo>
                  <a:pt x="16544" y="13166"/>
                  <a:pt x="16581" y="12839"/>
                  <a:pt x="16610" y="12507"/>
                </a:cubicBezTo>
                <a:cubicBezTo>
                  <a:pt x="16621" y="12383"/>
                  <a:pt x="16632" y="12260"/>
                  <a:pt x="16641" y="12135"/>
                </a:cubicBezTo>
                <a:cubicBezTo>
                  <a:pt x="16660" y="11858"/>
                  <a:pt x="16664" y="11574"/>
                  <a:pt x="16673" y="11291"/>
                </a:cubicBezTo>
                <a:lnTo>
                  <a:pt x="20598" y="11291"/>
                </a:lnTo>
                <a:cubicBezTo>
                  <a:pt x="20476" y="13747"/>
                  <a:pt x="19450" y="15962"/>
                  <a:pt x="17850" y="17620"/>
                </a:cubicBezTo>
                <a:moveTo>
                  <a:pt x="13714" y="20178"/>
                </a:moveTo>
                <a:cubicBezTo>
                  <a:pt x="13925" y="19957"/>
                  <a:pt x="14127" y="19710"/>
                  <a:pt x="14321" y="19444"/>
                </a:cubicBezTo>
                <a:cubicBezTo>
                  <a:pt x="14339" y="19419"/>
                  <a:pt x="14357" y="19394"/>
                  <a:pt x="14375" y="19369"/>
                </a:cubicBezTo>
                <a:cubicBezTo>
                  <a:pt x="14764" y="18822"/>
                  <a:pt x="15116" y="18192"/>
                  <a:pt x="15420" y="17488"/>
                </a:cubicBezTo>
                <a:cubicBezTo>
                  <a:pt x="15436" y="17450"/>
                  <a:pt x="15451" y="17410"/>
                  <a:pt x="15467" y="17372"/>
                </a:cubicBezTo>
                <a:cubicBezTo>
                  <a:pt x="15485" y="17329"/>
                  <a:pt x="15499" y="17282"/>
                  <a:pt x="15517" y="17239"/>
                </a:cubicBezTo>
                <a:cubicBezTo>
                  <a:pt x="16123" y="17535"/>
                  <a:pt x="16665" y="17890"/>
                  <a:pt x="17142" y="18285"/>
                </a:cubicBezTo>
                <a:cubicBezTo>
                  <a:pt x="16149" y="19129"/>
                  <a:pt x="14989" y="19782"/>
                  <a:pt x="13714" y="20178"/>
                </a:cubicBezTo>
                <a:moveTo>
                  <a:pt x="11291" y="20569"/>
                </a:moveTo>
                <a:lnTo>
                  <a:pt x="11291" y="16221"/>
                </a:lnTo>
                <a:cubicBezTo>
                  <a:pt x="12498" y="16271"/>
                  <a:pt x="13638" y="16493"/>
                  <a:pt x="14652" y="16869"/>
                </a:cubicBezTo>
                <a:cubicBezTo>
                  <a:pt x="13850" y="18909"/>
                  <a:pt x="12654" y="20298"/>
                  <a:pt x="11291" y="20569"/>
                </a:cubicBezTo>
                <a:moveTo>
                  <a:pt x="11291" y="11291"/>
                </a:moveTo>
                <a:lnTo>
                  <a:pt x="15697" y="11291"/>
                </a:lnTo>
                <a:cubicBezTo>
                  <a:pt x="15655" y="12995"/>
                  <a:pt x="15392" y="14581"/>
                  <a:pt x="14971" y="15948"/>
                </a:cubicBezTo>
                <a:cubicBezTo>
                  <a:pt x="13855" y="15534"/>
                  <a:pt x="12608" y="15291"/>
                  <a:pt x="11291" y="15240"/>
                </a:cubicBezTo>
                <a:cubicBezTo>
                  <a:pt x="11291" y="15240"/>
                  <a:pt x="11291" y="11291"/>
                  <a:pt x="11291" y="11291"/>
                </a:cubicBezTo>
                <a:close/>
                <a:moveTo>
                  <a:pt x="11291" y="6360"/>
                </a:moveTo>
                <a:cubicBezTo>
                  <a:pt x="12608" y="6309"/>
                  <a:pt x="13855" y="6066"/>
                  <a:pt x="14971" y="5652"/>
                </a:cubicBezTo>
                <a:cubicBezTo>
                  <a:pt x="15392" y="7019"/>
                  <a:pt x="15655" y="8605"/>
                  <a:pt x="15697" y="10309"/>
                </a:cubicBezTo>
                <a:lnTo>
                  <a:pt x="11291" y="10309"/>
                </a:lnTo>
                <a:cubicBezTo>
                  <a:pt x="11291" y="10309"/>
                  <a:pt x="11291" y="6360"/>
                  <a:pt x="11291" y="6360"/>
                </a:cubicBezTo>
                <a:close/>
                <a:moveTo>
                  <a:pt x="11291" y="1031"/>
                </a:moveTo>
                <a:cubicBezTo>
                  <a:pt x="12654" y="1302"/>
                  <a:pt x="13850" y="2691"/>
                  <a:pt x="14652" y="4731"/>
                </a:cubicBezTo>
                <a:cubicBezTo>
                  <a:pt x="13638" y="5107"/>
                  <a:pt x="12498" y="5329"/>
                  <a:pt x="11291" y="5379"/>
                </a:cubicBezTo>
                <a:cubicBezTo>
                  <a:pt x="11291" y="5379"/>
                  <a:pt x="11291" y="1031"/>
                  <a:pt x="11291" y="1031"/>
                </a:cubicBezTo>
                <a:close/>
                <a:moveTo>
                  <a:pt x="17142" y="3315"/>
                </a:moveTo>
                <a:cubicBezTo>
                  <a:pt x="16665" y="3711"/>
                  <a:pt x="16123" y="4065"/>
                  <a:pt x="15517" y="4361"/>
                </a:cubicBezTo>
                <a:cubicBezTo>
                  <a:pt x="15499" y="4318"/>
                  <a:pt x="15485" y="4271"/>
                  <a:pt x="15467" y="4229"/>
                </a:cubicBezTo>
                <a:cubicBezTo>
                  <a:pt x="15451" y="4190"/>
                  <a:pt x="15436" y="4151"/>
                  <a:pt x="15420" y="4112"/>
                </a:cubicBezTo>
                <a:cubicBezTo>
                  <a:pt x="15116" y="3408"/>
                  <a:pt x="14764" y="2778"/>
                  <a:pt x="14375" y="2231"/>
                </a:cubicBezTo>
                <a:cubicBezTo>
                  <a:pt x="14357" y="2206"/>
                  <a:pt x="14339" y="2181"/>
                  <a:pt x="14321" y="2156"/>
                </a:cubicBezTo>
                <a:cubicBezTo>
                  <a:pt x="14127" y="1890"/>
                  <a:pt x="13925" y="1643"/>
                  <a:pt x="13714" y="1422"/>
                </a:cubicBezTo>
                <a:cubicBezTo>
                  <a:pt x="14989" y="1818"/>
                  <a:pt x="16149" y="2471"/>
                  <a:pt x="17142" y="3315"/>
                </a:cubicBezTo>
                <a:moveTo>
                  <a:pt x="20598" y="10309"/>
                </a:moveTo>
                <a:lnTo>
                  <a:pt x="16673" y="10309"/>
                </a:lnTo>
                <a:cubicBezTo>
                  <a:pt x="16664" y="10027"/>
                  <a:pt x="16660" y="9742"/>
                  <a:pt x="16641" y="9465"/>
                </a:cubicBezTo>
                <a:cubicBezTo>
                  <a:pt x="16632" y="9340"/>
                  <a:pt x="16621" y="9217"/>
                  <a:pt x="16610" y="9093"/>
                </a:cubicBezTo>
                <a:cubicBezTo>
                  <a:pt x="16581" y="8761"/>
                  <a:pt x="16544" y="8434"/>
                  <a:pt x="16499" y="8112"/>
                </a:cubicBezTo>
                <a:cubicBezTo>
                  <a:pt x="16484" y="8005"/>
                  <a:pt x="16471" y="7896"/>
                  <a:pt x="16454" y="7789"/>
                </a:cubicBezTo>
                <a:cubicBezTo>
                  <a:pt x="16320" y="6944"/>
                  <a:pt x="16131" y="6144"/>
                  <a:pt x="15896" y="5397"/>
                </a:cubicBezTo>
                <a:cubicBezTo>
                  <a:pt x="15882" y="5357"/>
                  <a:pt x="15868" y="5317"/>
                  <a:pt x="15855" y="5276"/>
                </a:cubicBezTo>
                <a:cubicBezTo>
                  <a:pt x="16604" y="4918"/>
                  <a:pt x="17270" y="4478"/>
                  <a:pt x="17850" y="3981"/>
                </a:cubicBezTo>
                <a:cubicBezTo>
                  <a:pt x="19450" y="5638"/>
                  <a:pt x="20476" y="7853"/>
                  <a:pt x="20598" y="10309"/>
                </a:cubicBezTo>
                <a:moveTo>
                  <a:pt x="10309" y="5379"/>
                </a:moveTo>
                <a:cubicBezTo>
                  <a:pt x="9101" y="5329"/>
                  <a:pt x="7961" y="5107"/>
                  <a:pt x="6947" y="4731"/>
                </a:cubicBezTo>
                <a:cubicBezTo>
                  <a:pt x="7749" y="2691"/>
                  <a:pt x="8945" y="1302"/>
                  <a:pt x="10309" y="1031"/>
                </a:cubicBezTo>
                <a:cubicBezTo>
                  <a:pt x="10309" y="1031"/>
                  <a:pt x="10309" y="5379"/>
                  <a:pt x="10309" y="5379"/>
                </a:cubicBezTo>
                <a:close/>
                <a:moveTo>
                  <a:pt x="10309" y="10309"/>
                </a:moveTo>
                <a:lnTo>
                  <a:pt x="5903" y="10309"/>
                </a:lnTo>
                <a:cubicBezTo>
                  <a:pt x="5945" y="8605"/>
                  <a:pt x="6207" y="7019"/>
                  <a:pt x="6629" y="5652"/>
                </a:cubicBezTo>
                <a:cubicBezTo>
                  <a:pt x="7745" y="6066"/>
                  <a:pt x="8991" y="6309"/>
                  <a:pt x="10309" y="6360"/>
                </a:cubicBezTo>
                <a:cubicBezTo>
                  <a:pt x="10309" y="6360"/>
                  <a:pt x="10309" y="10309"/>
                  <a:pt x="10309" y="10309"/>
                </a:cubicBezTo>
                <a:close/>
                <a:moveTo>
                  <a:pt x="10309" y="15240"/>
                </a:moveTo>
                <a:cubicBezTo>
                  <a:pt x="8991" y="15291"/>
                  <a:pt x="7745" y="15534"/>
                  <a:pt x="6629" y="15948"/>
                </a:cubicBezTo>
                <a:cubicBezTo>
                  <a:pt x="6207" y="14581"/>
                  <a:pt x="5945" y="12995"/>
                  <a:pt x="5903" y="11291"/>
                </a:cubicBezTo>
                <a:lnTo>
                  <a:pt x="10309" y="11291"/>
                </a:lnTo>
                <a:cubicBezTo>
                  <a:pt x="10309" y="11291"/>
                  <a:pt x="10309" y="15240"/>
                  <a:pt x="10309" y="15240"/>
                </a:cubicBezTo>
                <a:close/>
                <a:moveTo>
                  <a:pt x="10309" y="20569"/>
                </a:moveTo>
                <a:cubicBezTo>
                  <a:pt x="8945" y="20298"/>
                  <a:pt x="7749" y="18909"/>
                  <a:pt x="6947" y="16869"/>
                </a:cubicBezTo>
                <a:cubicBezTo>
                  <a:pt x="7961" y="16493"/>
                  <a:pt x="9101" y="16271"/>
                  <a:pt x="10309" y="16221"/>
                </a:cubicBezTo>
                <a:cubicBezTo>
                  <a:pt x="10309" y="16221"/>
                  <a:pt x="10309" y="20569"/>
                  <a:pt x="10309" y="20569"/>
                </a:cubicBezTo>
                <a:close/>
                <a:moveTo>
                  <a:pt x="4458" y="18285"/>
                </a:moveTo>
                <a:cubicBezTo>
                  <a:pt x="4934" y="17890"/>
                  <a:pt x="5476" y="17535"/>
                  <a:pt x="6083" y="17239"/>
                </a:cubicBezTo>
                <a:cubicBezTo>
                  <a:pt x="6100" y="17282"/>
                  <a:pt x="6115" y="17329"/>
                  <a:pt x="6132" y="17372"/>
                </a:cubicBezTo>
                <a:cubicBezTo>
                  <a:pt x="6149" y="17410"/>
                  <a:pt x="6163" y="17450"/>
                  <a:pt x="6180" y="17488"/>
                </a:cubicBezTo>
                <a:cubicBezTo>
                  <a:pt x="6484" y="18192"/>
                  <a:pt x="6835" y="18822"/>
                  <a:pt x="7224" y="19369"/>
                </a:cubicBezTo>
                <a:cubicBezTo>
                  <a:pt x="7242" y="19394"/>
                  <a:pt x="7261" y="19419"/>
                  <a:pt x="7279" y="19444"/>
                </a:cubicBezTo>
                <a:cubicBezTo>
                  <a:pt x="7472" y="19710"/>
                  <a:pt x="7674" y="19957"/>
                  <a:pt x="7886" y="20178"/>
                </a:cubicBezTo>
                <a:cubicBezTo>
                  <a:pt x="6610" y="19782"/>
                  <a:pt x="5451" y="19129"/>
                  <a:pt x="4458" y="18285"/>
                </a:cubicBezTo>
                <a:moveTo>
                  <a:pt x="1002" y="11291"/>
                </a:moveTo>
                <a:lnTo>
                  <a:pt x="4927" y="11291"/>
                </a:lnTo>
                <a:cubicBezTo>
                  <a:pt x="4935" y="11574"/>
                  <a:pt x="4940" y="11858"/>
                  <a:pt x="4958" y="12135"/>
                </a:cubicBezTo>
                <a:cubicBezTo>
                  <a:pt x="4967" y="12260"/>
                  <a:pt x="4979" y="12383"/>
                  <a:pt x="4989" y="12507"/>
                </a:cubicBezTo>
                <a:cubicBezTo>
                  <a:pt x="5018" y="12839"/>
                  <a:pt x="5055" y="13166"/>
                  <a:pt x="5100" y="13488"/>
                </a:cubicBezTo>
                <a:cubicBezTo>
                  <a:pt x="5116" y="13596"/>
                  <a:pt x="5129" y="13704"/>
                  <a:pt x="5146" y="13811"/>
                </a:cubicBezTo>
                <a:cubicBezTo>
                  <a:pt x="5280" y="14656"/>
                  <a:pt x="5468" y="15456"/>
                  <a:pt x="5704" y="16203"/>
                </a:cubicBezTo>
                <a:cubicBezTo>
                  <a:pt x="5718" y="16244"/>
                  <a:pt x="5731" y="16284"/>
                  <a:pt x="5744" y="16324"/>
                </a:cubicBezTo>
                <a:cubicBezTo>
                  <a:pt x="4996" y="16682"/>
                  <a:pt x="4330" y="17122"/>
                  <a:pt x="3749" y="17620"/>
                </a:cubicBezTo>
                <a:cubicBezTo>
                  <a:pt x="2150" y="15962"/>
                  <a:pt x="1123" y="13747"/>
                  <a:pt x="1002" y="11291"/>
                </a:cubicBezTo>
                <a:moveTo>
                  <a:pt x="3749" y="3981"/>
                </a:moveTo>
                <a:cubicBezTo>
                  <a:pt x="4330" y="4478"/>
                  <a:pt x="4996" y="4918"/>
                  <a:pt x="5744" y="5276"/>
                </a:cubicBezTo>
                <a:cubicBezTo>
                  <a:pt x="5731" y="5317"/>
                  <a:pt x="5718" y="5357"/>
                  <a:pt x="5704" y="5397"/>
                </a:cubicBezTo>
                <a:cubicBezTo>
                  <a:pt x="5469" y="6144"/>
                  <a:pt x="5280" y="6944"/>
                  <a:pt x="5146" y="7789"/>
                </a:cubicBezTo>
                <a:cubicBezTo>
                  <a:pt x="5129" y="7896"/>
                  <a:pt x="5116" y="8005"/>
                  <a:pt x="5100" y="8112"/>
                </a:cubicBezTo>
                <a:cubicBezTo>
                  <a:pt x="5055" y="8434"/>
                  <a:pt x="5018" y="8761"/>
                  <a:pt x="4989" y="9093"/>
                </a:cubicBezTo>
                <a:cubicBezTo>
                  <a:pt x="4979" y="9217"/>
                  <a:pt x="4967" y="9340"/>
                  <a:pt x="4958" y="9465"/>
                </a:cubicBezTo>
                <a:cubicBezTo>
                  <a:pt x="4940" y="9742"/>
                  <a:pt x="4935" y="10027"/>
                  <a:pt x="4927" y="10309"/>
                </a:cubicBezTo>
                <a:lnTo>
                  <a:pt x="1002" y="10309"/>
                </a:lnTo>
                <a:cubicBezTo>
                  <a:pt x="1123" y="7853"/>
                  <a:pt x="2150" y="5638"/>
                  <a:pt x="3749" y="3981"/>
                </a:cubicBezTo>
                <a:moveTo>
                  <a:pt x="7886" y="1422"/>
                </a:moveTo>
                <a:cubicBezTo>
                  <a:pt x="7674" y="1643"/>
                  <a:pt x="7472" y="1890"/>
                  <a:pt x="7279" y="2156"/>
                </a:cubicBezTo>
                <a:cubicBezTo>
                  <a:pt x="7261" y="2181"/>
                  <a:pt x="7242" y="2206"/>
                  <a:pt x="7224" y="2231"/>
                </a:cubicBezTo>
                <a:cubicBezTo>
                  <a:pt x="6835" y="2778"/>
                  <a:pt x="6484" y="3408"/>
                  <a:pt x="6180" y="4112"/>
                </a:cubicBezTo>
                <a:cubicBezTo>
                  <a:pt x="6163" y="4151"/>
                  <a:pt x="6149" y="4190"/>
                  <a:pt x="6132" y="4229"/>
                </a:cubicBezTo>
                <a:cubicBezTo>
                  <a:pt x="6115" y="4271"/>
                  <a:pt x="6100" y="4318"/>
                  <a:pt x="6083" y="4361"/>
                </a:cubicBezTo>
                <a:cubicBezTo>
                  <a:pt x="5476" y="4065"/>
                  <a:pt x="4934" y="3711"/>
                  <a:pt x="4458" y="3315"/>
                </a:cubicBezTo>
                <a:cubicBezTo>
                  <a:pt x="5451" y="2471"/>
                  <a:pt x="6610" y="1818"/>
                  <a:pt x="7886" y="1422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6" name="Right Triangle 15">
            <a:extLst>
              <a:ext uri="{FF2B5EF4-FFF2-40B4-BE49-F238E27FC236}">
                <a16:creationId xmlns:a16="http://schemas.microsoft.com/office/drawing/2014/main" id="{D160F2B3-A959-4ACD-952B-D0630BBF9F01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18588D5-A129-41D2-8D59-2491405053AC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F8AE294-7FFA-458A-B625-5527BB4A488A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3924300"/>
            <a:ext cx="5816600" cy="2933700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1821022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6822929" y="3461163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822929" y="3839451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6822928" y="4216669"/>
            <a:ext cx="3445783" cy="2890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6822929" y="4594957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15320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A143042A-AEEC-4A5A-804F-0C212591B475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DFD7486-A58C-4B2E-B245-C1DA6F8F5D6C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06054C3-A5E1-45D4-BF37-50B48BE1C97B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5ED6397-C8AB-4B9C-814C-4F1FE5D33381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24514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A10EDDF2-7F07-4362-BCDC-29EF63C227EC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B8D7EB24-D87E-4326-A831-55B51C1EBC59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6CF0165-5236-4A18-AFD7-E2C15E37FAA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5834650-C8A5-49AB-9277-08052C1F266B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arallelogram 7">
            <a:extLst>
              <a:ext uri="{FF2B5EF4-FFF2-40B4-BE49-F238E27FC236}">
                <a16:creationId xmlns:a16="http://schemas.microsoft.com/office/drawing/2014/main" id="{4FF066B7-2BCD-4B3E-BC0D-937C40CC6A4D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16D4B88-A094-46D6-AEAD-6084D1039CEA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B9A7FCD-24FA-4AAF-A522-67AFB44DB48A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06BAB701-8338-47D9-A1B3-EB6A11213F0A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752116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79D7ABD3-AE33-4C2A-A4F1-57C1CC063394}"/>
              </a:ext>
            </a:extLst>
          </p:cNvPr>
          <p:cNvGrpSpPr/>
          <p:nvPr userDrawn="1"/>
        </p:nvGrpSpPr>
        <p:grpSpPr>
          <a:xfrm flipH="1">
            <a:off x="7561328" y="0"/>
            <a:ext cx="4840632" cy="3541007"/>
            <a:chOff x="-200919" y="-2"/>
            <a:chExt cx="4840632" cy="3367272"/>
          </a:xfrm>
          <a:solidFill>
            <a:schemeClr val="bg1">
              <a:lumMod val="85000"/>
            </a:schemeClr>
          </a:solidFill>
        </p:grpSpPr>
        <p:sp>
          <p:nvSpPr>
            <p:cNvPr id="5" name="Diagonal Stripe 4">
              <a:extLst>
                <a:ext uri="{FF2B5EF4-FFF2-40B4-BE49-F238E27FC236}">
                  <a16:creationId xmlns:a16="http://schemas.microsoft.com/office/drawing/2014/main" id="{5E5059D5-83B6-4E3C-8691-B21BD8C73A0D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05C33A8C-3829-4B9A-ABB1-72E6CB77EA5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Parallelogram 6">
              <a:extLst>
                <a:ext uri="{FF2B5EF4-FFF2-40B4-BE49-F238E27FC236}">
                  <a16:creationId xmlns:a16="http://schemas.microsoft.com/office/drawing/2014/main" id="{441124E0-5849-4CD3-82EB-7318847FF891}"/>
                </a:ext>
              </a:extLst>
            </p:cNvPr>
            <p:cNvSpPr/>
            <p:nvPr/>
          </p:nvSpPr>
          <p:spPr>
            <a:xfrm rot="19340935">
              <a:off x="-200919" y="1140864"/>
              <a:ext cx="1354398" cy="214994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8" name="Parallelogram 7">
            <a:extLst>
              <a:ext uri="{FF2B5EF4-FFF2-40B4-BE49-F238E27FC236}">
                <a16:creationId xmlns:a16="http://schemas.microsoft.com/office/drawing/2014/main" id="{A08C98F5-9F69-4ED8-850E-9FFE01FDCC1E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1"/>
          </p:nvPr>
        </p:nvSpPr>
        <p:spPr>
          <a:xfrm>
            <a:off x="518678" y="1671924"/>
            <a:ext cx="10835122" cy="450503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83F3D1AB-1A77-4E7E-BE43-FE8B2E8C7B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AC99E6CA-102C-4B88-8A06-61E8998E54B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D200FB-2745-4F6B-997A-F5BF5463140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8094773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6">
            <a:extLst>
              <a:ext uri="{FF2B5EF4-FFF2-40B4-BE49-F238E27FC236}">
                <a16:creationId xmlns:a16="http://schemas.microsoft.com/office/drawing/2014/main" id="{5AAAEBDC-CE2D-4406-B476-C082B31EBD2C}"/>
              </a:ext>
            </a:extLst>
          </p:cNvPr>
          <p:cNvGrpSpPr>
            <a:grpSpLocks/>
          </p:cNvGrpSpPr>
          <p:nvPr userDrawn="1"/>
        </p:nvGrpSpPr>
        <p:grpSpPr bwMode="auto">
          <a:xfrm flipH="1">
            <a:off x="7561263" y="0"/>
            <a:ext cx="4832350" cy="3541713"/>
            <a:chOff x="-192127" y="-2"/>
            <a:chExt cx="4831840" cy="3367272"/>
          </a:xfrm>
        </p:grpSpPr>
        <p:sp>
          <p:nvSpPr>
            <p:cNvPr id="3" name="Diagonal Stripe 2">
              <a:extLst>
                <a:ext uri="{FF2B5EF4-FFF2-40B4-BE49-F238E27FC236}">
                  <a16:creationId xmlns:a16="http://schemas.microsoft.com/office/drawing/2014/main" id="{4A300503-FE8B-4BD7-8820-70D0EE051AE9}"/>
                </a:ext>
              </a:extLst>
            </p:cNvPr>
            <p:cNvSpPr/>
            <p:nvPr userDrawn="1"/>
          </p:nvSpPr>
          <p:spPr>
            <a:xfrm>
              <a:off x="-59" y="-2"/>
              <a:ext cx="4639772" cy="3367272"/>
            </a:xfrm>
            <a:prstGeom prst="diagStripe">
              <a:avLst>
                <a:gd name="adj" fmla="val 51202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B2D1BB40-A57B-4093-9BB3-EFE1854DB18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433301" y="-2"/>
              <a:ext cx="1241294" cy="916152"/>
            </a:xfrm>
            <a:prstGeom prst="line">
              <a:avLst/>
            </a:prstGeom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Parallelogram 4">
              <a:extLst>
                <a:ext uri="{FF2B5EF4-FFF2-40B4-BE49-F238E27FC236}">
                  <a16:creationId xmlns:a16="http://schemas.microsoft.com/office/drawing/2014/main" id="{5D8F7BCC-EDE8-445A-8560-17B42A88AAF8}"/>
                </a:ext>
              </a:extLst>
            </p:cNvPr>
            <p:cNvSpPr/>
            <p:nvPr userDrawn="1"/>
          </p:nvSpPr>
          <p:spPr>
            <a:xfrm rot="19421162">
              <a:off x="-192127" y="1141037"/>
              <a:ext cx="1353995" cy="214322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6" name="Parallelogram 5">
            <a:extLst>
              <a:ext uri="{FF2B5EF4-FFF2-40B4-BE49-F238E27FC236}">
                <a16:creationId xmlns:a16="http://schemas.microsoft.com/office/drawing/2014/main" id="{9B4A864A-17B8-4B65-AA03-2B3141C0A732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FB1C8CA3-31F0-4D73-9AB7-C5BD80D4E4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F92F4D2-D714-4730-9136-76869B1BCF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74A095-9D4E-46E5-881E-7F9EBAE573E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6999984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3C2C20DE-FD33-4A6E-810D-EB78A869E6BA}"/>
              </a:ext>
            </a:extLst>
          </p:cNvPr>
          <p:cNvGrpSpPr/>
          <p:nvPr userDrawn="1"/>
        </p:nvGrpSpPr>
        <p:grpSpPr>
          <a:xfrm flipH="1">
            <a:off x="7561328" y="0"/>
            <a:ext cx="4831840" cy="3541007"/>
            <a:chOff x="-192127" y="-2"/>
            <a:chExt cx="4831840" cy="3367272"/>
          </a:xfrm>
          <a:solidFill>
            <a:schemeClr val="bg1">
              <a:lumMod val="85000"/>
            </a:schemeClr>
          </a:solidFill>
        </p:grpSpPr>
        <p:sp>
          <p:nvSpPr>
            <p:cNvPr id="4" name="Diagonal Stripe 3">
              <a:extLst>
                <a:ext uri="{FF2B5EF4-FFF2-40B4-BE49-F238E27FC236}">
                  <a16:creationId xmlns:a16="http://schemas.microsoft.com/office/drawing/2014/main" id="{C405C02D-9CCF-403D-8044-831EA3B8FCCB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E9380B31-E741-45ED-89EC-0C314DA0D8F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Parallelogram 5">
              <a:extLst>
                <a:ext uri="{FF2B5EF4-FFF2-40B4-BE49-F238E27FC236}">
                  <a16:creationId xmlns:a16="http://schemas.microsoft.com/office/drawing/2014/main" id="{A7536251-D387-4E19-9405-80D402F21899}"/>
                </a:ext>
              </a:extLst>
            </p:cNvPr>
            <p:cNvSpPr/>
            <p:nvPr/>
          </p:nvSpPr>
          <p:spPr>
            <a:xfrm rot="19421162">
              <a:off x="-192127" y="1140864"/>
              <a:ext cx="1354398" cy="214994"/>
            </a:xfrm>
            <a:prstGeom prst="parallelogram">
              <a:avLst>
                <a:gd name="adj" fmla="val 72003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7" name="Parallelogram 6">
            <a:extLst>
              <a:ext uri="{FF2B5EF4-FFF2-40B4-BE49-F238E27FC236}">
                <a16:creationId xmlns:a16="http://schemas.microsoft.com/office/drawing/2014/main" id="{0B7B713A-74FC-49DE-A8B6-369B37060273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3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65C7404A-B9BE-403B-9CCB-7AA8A18A74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E67BCF27-B6C1-4053-A6D4-158AE8672C3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AF4AAF-F9BB-4F03-B3B7-8607AFA5C1F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946316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229093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671504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2"/>
          <p:cNvSpPr>
            <a:spLocks noGrp="1"/>
          </p:cNvSpPr>
          <p:nvPr>
            <p:ph sz="quarter" idx="16"/>
          </p:nvPr>
        </p:nvSpPr>
        <p:spPr>
          <a:xfrm>
            <a:off x="339106" y="1661686"/>
            <a:ext cx="11517932" cy="44386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Slide Number Placeholder 7">
            <a:extLst>
              <a:ext uri="{FF2B5EF4-FFF2-40B4-BE49-F238E27FC236}">
                <a16:creationId xmlns:a16="http://schemas.microsoft.com/office/drawing/2014/main" id="{9B37A18F-4E11-4279-B7B6-3C64CCF37CB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0463213" y="6623050"/>
            <a:ext cx="357187" cy="13811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1C8AEF2-83C7-4DCA-92F1-322B2EBA01D7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5CF06810-D0E0-4693-AB99-DFF9195CB0B1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8316913" y="6621463"/>
            <a:ext cx="1620837" cy="1397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0290F4-3857-4872-8AE4-DA58ED8B3950}" type="datetime9">
              <a:rPr lang="en-GB"/>
              <a:pPr>
                <a:defRPr/>
              </a:pPr>
              <a:t>10/05/2024 08:57:4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04806726"/>
      </p:ext>
    </p:extLst>
  </p:cSld>
  <p:clrMapOvr>
    <a:masterClrMapping/>
  </p:clrMapOvr>
  <p:transition spd="med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slide - Gre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85236" y="241300"/>
            <a:ext cx="11040533" cy="719138"/>
          </a:xfrm>
        </p:spPr>
        <p:txBody>
          <a:bodyPr/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lang="en-GB" sz="1600" b="0" i="0" kern="1200" spc="-50" baseline="0" dirty="0" smtClean="0">
                <a:solidFill>
                  <a:schemeClr val="tx1"/>
                </a:solidFill>
                <a:effectLst/>
                <a:latin typeface="Montserrat Medium" pitchFamily="2" charset="77"/>
                <a:ea typeface="+mj-ea"/>
                <a:cs typeface="+mj-cs"/>
              </a:defRPr>
            </a:lvl1pPr>
            <a:lvl2pPr marL="0" indent="0">
              <a:lnSpc>
                <a:spcPts val="2000"/>
              </a:lnSpc>
              <a:spcBef>
                <a:spcPts val="0"/>
              </a:spcBef>
              <a:buNone/>
              <a:tabLst/>
              <a:defRPr sz="1600"/>
            </a:lvl2pPr>
            <a:lvl3pPr marL="0" indent="0">
              <a:buNone/>
              <a:defRPr/>
            </a:lvl3pPr>
            <a:lvl4pPr marL="197988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5673" y="1143000"/>
            <a:ext cx="11406792" cy="5072558"/>
          </a:xfrm>
        </p:spPr>
        <p:txBody>
          <a:bodyPr/>
          <a:lstStyle>
            <a:lvl1pPr marL="0" indent="0">
              <a:lnSpc>
                <a:spcPts val="3001"/>
              </a:lnSpc>
              <a:buNone/>
              <a:defRPr lang="en-GB" smtClean="0">
                <a:effectLst/>
              </a:defRPr>
            </a:lvl1pPr>
            <a:lvl2pPr marL="0" marR="0" indent="0" algn="l" defTabSz="914344" rtl="0" eaLnBrk="1" fontAlgn="auto" latinLnBrk="0" hangingPunct="1">
              <a:lnSpc>
                <a:spcPts val="3001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Montserrat"/>
              <a:buNone/>
              <a:tabLst/>
              <a:defRPr lang="en-GB" smtClean="0">
                <a:effectLst/>
              </a:defRPr>
            </a:lvl2pPr>
            <a:lvl3pPr marL="0" indent="0">
              <a:buNone/>
              <a:defRPr/>
            </a:lvl3pPr>
            <a:lvl4pPr marL="197988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634CCEB1-9E5F-4799-BCB7-3FD6E442A7B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85763" y="6408738"/>
            <a:ext cx="4800600" cy="287337"/>
          </a:xfrm>
        </p:spPr>
        <p:txBody>
          <a:bodyPr/>
          <a:lstStyle>
            <a:lvl1pPr algn="ctr" defTabSz="914400">
              <a:defRPr dirty="0">
                <a:solidFill>
                  <a:prstClr val="black">
                    <a:tint val="75000"/>
                  </a:prstClr>
                </a:solidFill>
                <a:ea typeface="+mn-ea"/>
              </a:defRPr>
            </a:lvl1pPr>
          </a:lstStyle>
          <a:p>
            <a:pPr>
              <a:defRPr/>
            </a:pPr>
            <a:r>
              <a:rPr lang="en-GB"/>
              <a:t>VI Technology Implementation Project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EFE9635E-723B-40F5-84FA-33B9D351887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defTabSz="914400" fontAlgn="auto">
              <a:spcBef>
                <a:spcPts val="0"/>
              </a:spcBef>
              <a:spcAft>
                <a:spcPts val="0"/>
              </a:spcAft>
              <a:defRPr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defRPr>
            </a:lvl1pPr>
          </a:lstStyle>
          <a:p>
            <a:pPr>
              <a:defRPr/>
            </a:pPr>
            <a:fld id="{7C1162DF-D67B-4DAE-A5A7-EA1BF038C27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77219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D8ECE3-3AB9-8549-BFAC-7BDEC26165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E3810F-D8D2-9345-B4D8-67FD4EC4D7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91F8C31-310B-F44D-B241-92F0C6DB63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1ECD11-B72E-45D9-9452-B04AC712C969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139BBB-78D6-2148-AE92-1626A9D786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6403E9-398A-584B-A36E-DB5F0FF41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469993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106AAE72-FFE0-4F8D-B8F3-7E7AC8D65A2C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450CF92-BF78-4C7C-884D-E2A390DE8F8F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1210398-FEA1-444C-BF67-54AC6818AAD3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AEBF04E-E119-4281-904A-AE67788017C2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9018975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974D8F20-B067-4FED-9998-DE0E7704E37A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E1BA0C9A-2D66-4022-AF17-30EB15488A6C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26BCC5C-9CDA-4E8F-BBF9-E7666142F0DA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883769D-5123-4228-81DB-AEE452CA3AC6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arallelogram 8">
            <a:extLst>
              <a:ext uri="{FF2B5EF4-FFF2-40B4-BE49-F238E27FC236}">
                <a16:creationId xmlns:a16="http://schemas.microsoft.com/office/drawing/2014/main" id="{F1CB3DA9-A9AC-42C1-8052-2E26DDC4FE08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8FD6BC1-E11B-4EF1-9973-FF11B169CAB5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C58B46A-320D-4D3B-9F48-4F043C0ECC19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D9D63716-CA6F-475B-967A-74175FDF169E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6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494483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Layou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ght Triangle 5">
            <a:extLst>
              <a:ext uri="{FF2B5EF4-FFF2-40B4-BE49-F238E27FC236}">
                <a16:creationId xmlns:a16="http://schemas.microsoft.com/office/drawing/2014/main" id="{1DBE7F98-C0D4-4069-845C-6DA3BA04FC50}"/>
              </a:ext>
            </a:extLst>
          </p:cNvPr>
          <p:cNvSpPr/>
          <p:nvPr userDrawn="1"/>
        </p:nvSpPr>
        <p:spPr>
          <a:xfrm flipH="1" flipV="1">
            <a:off x="2709863" y="0"/>
            <a:ext cx="9482137" cy="5046663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AC7FE499-58F7-4215-BBE3-1BA78A1F62F1}"/>
              </a:ext>
            </a:extLst>
          </p:cNvPr>
          <p:cNvSpPr/>
          <p:nvPr userDrawn="1"/>
        </p:nvSpPr>
        <p:spPr>
          <a:xfrm flipH="1">
            <a:off x="3367088" y="0"/>
            <a:ext cx="3606800" cy="1171575"/>
          </a:xfrm>
          <a:prstGeom prst="parallelogram">
            <a:avLst>
              <a:gd name="adj" fmla="val 186380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89100BC-E622-446C-9C90-E6BC06BB95E3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5046663"/>
            <a:ext cx="1524000" cy="1803400"/>
          </a:xfrm>
          <a:prstGeom prst="line">
            <a:avLst/>
          </a:prstGeom>
          <a:ln>
            <a:solidFill>
              <a:srgbClr val="EAB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3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0"/>
          </p:nvPr>
        </p:nvSpPr>
        <p:spPr>
          <a:xfrm>
            <a:off x="6604000" y="0"/>
            <a:ext cx="5588000" cy="6872249"/>
          </a:xfrm>
          <a:custGeom>
            <a:avLst/>
            <a:gdLst>
              <a:gd name="connsiteX0" fmla="*/ 3876237 w 5588000"/>
              <a:gd name="connsiteY0" fmla="*/ 5431883 h 6872249"/>
              <a:gd name="connsiteX1" fmla="*/ 4953000 w 5588000"/>
              <a:gd name="connsiteY1" fmla="*/ 5431883 h 6872249"/>
              <a:gd name="connsiteX2" fmla="*/ 3769163 w 5588000"/>
              <a:gd name="connsiteY2" fmla="*/ 6872249 h 6872249"/>
              <a:gd name="connsiteX3" fmla="*/ 2692400 w 5588000"/>
              <a:gd name="connsiteY3" fmla="*/ 6872249 h 6872249"/>
              <a:gd name="connsiteX4" fmla="*/ 2479230 w 5588000"/>
              <a:gd name="connsiteY4" fmla="*/ 2870200 h 6872249"/>
              <a:gd name="connsiteX5" fmla="*/ 3175000 w 5588000"/>
              <a:gd name="connsiteY5" fmla="*/ 2870200 h 6872249"/>
              <a:gd name="connsiteX6" fmla="*/ 1965770 w 5588000"/>
              <a:gd name="connsiteY6" fmla="*/ 4310566 h 6872249"/>
              <a:gd name="connsiteX7" fmla="*/ 1270000 w 5588000"/>
              <a:gd name="connsiteY7" fmla="*/ 4310566 h 6872249"/>
              <a:gd name="connsiteX8" fmla="*/ 5575300 w 5588000"/>
              <a:gd name="connsiteY8" fmla="*/ 139700 h 6872249"/>
              <a:gd name="connsiteX9" fmla="*/ 5575300 w 5588000"/>
              <a:gd name="connsiteY9" fmla="*/ 3238583 h 6872249"/>
              <a:gd name="connsiteX10" fmla="*/ 2571663 w 5588000"/>
              <a:gd name="connsiteY10" fmla="*/ 6858000 h 6872249"/>
              <a:gd name="connsiteX11" fmla="*/ 0 w 5588000"/>
              <a:gd name="connsiteY11" fmla="*/ 6858000 h 6872249"/>
              <a:gd name="connsiteX12" fmla="*/ 4256761 w 5588000"/>
              <a:gd name="connsiteY12" fmla="*/ 0 h 6872249"/>
              <a:gd name="connsiteX13" fmla="*/ 5588000 w 5588000"/>
              <a:gd name="connsiteY13" fmla="*/ 0 h 6872249"/>
              <a:gd name="connsiteX14" fmla="*/ 3274339 w 5588000"/>
              <a:gd name="connsiteY14" fmla="*/ 2755900 h 6872249"/>
              <a:gd name="connsiteX15" fmla="*/ 1943100 w 5588000"/>
              <a:gd name="connsiteY15" fmla="*/ 2755900 h 6872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588000" h="6872249">
                <a:moveTo>
                  <a:pt x="3876237" y="5431883"/>
                </a:moveTo>
                <a:lnTo>
                  <a:pt x="4953000" y="5431883"/>
                </a:lnTo>
                <a:lnTo>
                  <a:pt x="3769163" y="6872249"/>
                </a:lnTo>
                <a:lnTo>
                  <a:pt x="2692400" y="6872249"/>
                </a:lnTo>
                <a:close/>
                <a:moveTo>
                  <a:pt x="2479230" y="2870200"/>
                </a:moveTo>
                <a:lnTo>
                  <a:pt x="3175000" y="2870200"/>
                </a:lnTo>
                <a:lnTo>
                  <a:pt x="1965770" y="4310566"/>
                </a:lnTo>
                <a:lnTo>
                  <a:pt x="1270000" y="4310566"/>
                </a:lnTo>
                <a:close/>
                <a:moveTo>
                  <a:pt x="5575300" y="139700"/>
                </a:moveTo>
                <a:lnTo>
                  <a:pt x="5575300" y="3238583"/>
                </a:lnTo>
                <a:lnTo>
                  <a:pt x="2571663" y="6858000"/>
                </a:lnTo>
                <a:lnTo>
                  <a:pt x="0" y="6858000"/>
                </a:lnTo>
                <a:close/>
                <a:moveTo>
                  <a:pt x="4256761" y="0"/>
                </a:moveTo>
                <a:lnTo>
                  <a:pt x="5588000" y="0"/>
                </a:lnTo>
                <a:lnTo>
                  <a:pt x="3274339" y="2755900"/>
                </a:lnTo>
                <a:lnTo>
                  <a:pt x="1943100" y="2755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5FAA6BC4-C0D1-4596-BC96-FAB4854333B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241C117-254B-4421-A2D6-438C73AA0C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E0BB010-E4EF-473C-ACD7-7674AE36815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180413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Layou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F2095A9-7E3F-4D3B-A2EB-2D3A9B79627D}"/>
              </a:ext>
            </a:extLst>
          </p:cNvPr>
          <p:cNvCxnSpPr>
            <a:cxnSpLocks/>
          </p:cNvCxnSpPr>
          <p:nvPr userDrawn="1"/>
        </p:nvCxnSpPr>
        <p:spPr>
          <a:xfrm flipV="1">
            <a:off x="10352088" y="1185863"/>
            <a:ext cx="1839912" cy="1633537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6170177" y="1435100"/>
            <a:ext cx="6021821" cy="5422900"/>
          </a:xfrm>
          <a:custGeom>
            <a:avLst/>
            <a:gdLst>
              <a:gd name="connsiteX0" fmla="*/ 6021821 w 6021821"/>
              <a:gd name="connsiteY0" fmla="*/ 0 h 5422900"/>
              <a:gd name="connsiteX1" fmla="*/ 6021821 w 6021821"/>
              <a:gd name="connsiteY1" fmla="*/ 5422900 h 5422900"/>
              <a:gd name="connsiteX2" fmla="*/ 0 w 6021821"/>
              <a:gd name="connsiteY2" fmla="*/ 5422900 h 542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021821" h="5422900">
                <a:moveTo>
                  <a:pt x="6021821" y="0"/>
                </a:moveTo>
                <a:lnTo>
                  <a:pt x="6021821" y="5422900"/>
                </a:lnTo>
                <a:lnTo>
                  <a:pt x="0" y="5422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rIns="365760" anchor="ctr">
            <a:noAutofit/>
          </a:bodyPr>
          <a:lstStyle>
            <a:lvl1pPr marL="0" indent="0" algn="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2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B3237BB4-92A6-42D5-B23B-461C9A55165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7C34F241-F6C2-4ADC-9047-829FA85C09C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18C62A6-3FC2-4608-9E86-BBE75C4FB79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734795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i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34B7501E-83E9-4104-B808-B866A1FC3821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9" name="Diagonal Stripe 8">
              <a:extLst>
                <a:ext uri="{FF2B5EF4-FFF2-40B4-BE49-F238E27FC236}">
                  <a16:creationId xmlns:a16="http://schemas.microsoft.com/office/drawing/2014/main" id="{C4F69358-C244-4104-9F9E-517656F86DCF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3DFDCB46-C01B-44AD-BF6B-4A28E6FB515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4A97987F-1DC7-4F47-8D92-E5ED5956E4F1}"/>
              </a:ext>
            </a:extLst>
          </p:cNvPr>
          <p:cNvSpPr/>
          <p:nvPr userDrawn="1"/>
        </p:nvSpPr>
        <p:spPr>
          <a:xfrm flipH="1">
            <a:off x="6680200" y="0"/>
            <a:ext cx="1282700" cy="476250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5DC9D98A-F830-482D-A8B6-585C180AA7AD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7" name="Text Placeholder 2"/>
          <p:cNvSpPr>
            <a:spLocks noGrp="1"/>
          </p:cNvSpPr>
          <p:nvPr>
            <p:ph type="body" idx="1"/>
          </p:nvPr>
        </p:nvSpPr>
        <p:spPr>
          <a:xfrm>
            <a:off x="520698" y="2104888"/>
            <a:ext cx="547529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ontent Placeholder 3" title="Bullet Points"/>
          <p:cNvSpPr>
            <a:spLocks noGrp="1"/>
          </p:cNvSpPr>
          <p:nvPr>
            <p:ph sz="half" idx="13"/>
          </p:nvPr>
        </p:nvSpPr>
        <p:spPr>
          <a:xfrm>
            <a:off x="520698" y="2886076"/>
            <a:ext cx="547529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186713" y="2104888"/>
            <a:ext cx="547560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ontent Placeholder 5" title="Bullet Points"/>
          <p:cNvSpPr>
            <a:spLocks noGrp="1"/>
          </p:cNvSpPr>
          <p:nvPr>
            <p:ph sz="quarter" idx="15"/>
          </p:nvPr>
        </p:nvSpPr>
        <p:spPr>
          <a:xfrm>
            <a:off x="6186713" y="2886076"/>
            <a:ext cx="547560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A4FE1809-5C5A-4ED5-9E1A-7EE19232F31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87A3BA65-0659-4C1D-8788-233B041C260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038DCCE-A851-4B3A-8CB1-04F2F09E129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87986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D1E39775-5158-4314-B8B1-C566CB7C2450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7" name="Diagonal Stripe 6">
              <a:extLst>
                <a:ext uri="{FF2B5EF4-FFF2-40B4-BE49-F238E27FC236}">
                  <a16:creationId xmlns:a16="http://schemas.microsoft.com/office/drawing/2014/main" id="{499F1F42-5117-46D1-85C7-3F5583CA6320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EE5D0BB3-F680-4C00-B96D-7C4D163BBE3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arallelogram 8">
            <a:extLst>
              <a:ext uri="{FF2B5EF4-FFF2-40B4-BE49-F238E27FC236}">
                <a16:creationId xmlns:a16="http://schemas.microsoft.com/office/drawing/2014/main" id="{90C42D7A-3B17-4E68-8537-52D5F1FEDFCD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9974A1C7-3491-4E03-A89F-26D41088274E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531814" y="2005762"/>
            <a:ext cx="5225764" cy="40838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400">
                <a:solidFill>
                  <a:schemeClr val="bg1"/>
                </a:solidFill>
              </a:defRPr>
            </a:lvl2pPr>
            <a:lvl3pPr marL="914400" indent="0">
              <a:buNone/>
              <a:defRPr sz="2400">
                <a:solidFill>
                  <a:schemeClr val="bg1"/>
                </a:solidFill>
              </a:defRPr>
            </a:lvl3pPr>
            <a:lvl4pPr marL="1371600" indent="0">
              <a:buNone/>
              <a:defRPr sz="2400">
                <a:solidFill>
                  <a:schemeClr val="bg1"/>
                </a:solidFill>
              </a:defRPr>
            </a:lvl4pPr>
            <a:lvl5pPr marL="1828800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hart Placeholder 2" title="Chart"/>
          <p:cNvSpPr>
            <a:spLocks noGrp="1"/>
          </p:cNvSpPr>
          <p:nvPr>
            <p:ph type="chart" sz="quarter" idx="10"/>
          </p:nvPr>
        </p:nvSpPr>
        <p:spPr>
          <a:xfrm>
            <a:off x="5796114" y="2005762"/>
            <a:ext cx="5719397" cy="408447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3ADE43BE-3683-4D20-9482-51BF202766B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682918DA-4CEF-45E3-A475-AFE9CD48F4E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536D89F-BC88-40F3-BBA2-1BDAADF632D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949466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28E82EFA-1817-4EE4-A615-1E50B96B3F09}"/>
              </a:ext>
            </a:extLst>
          </p:cNvPr>
          <p:cNvGrpSpPr/>
          <p:nvPr userDrawn="1"/>
        </p:nvGrpSpPr>
        <p:grpSpPr>
          <a:xfrm flipH="1">
            <a:off x="8056985" y="0"/>
            <a:ext cx="4831840" cy="3541007"/>
            <a:chOff x="-192127" y="-2"/>
            <a:chExt cx="4831840" cy="3367272"/>
          </a:xfrm>
          <a:solidFill>
            <a:schemeClr val="bg1">
              <a:lumMod val="85000"/>
            </a:schemeClr>
          </a:solidFill>
        </p:grpSpPr>
        <p:sp>
          <p:nvSpPr>
            <p:cNvPr id="6" name="Diagonal Stripe 5">
              <a:extLst>
                <a:ext uri="{FF2B5EF4-FFF2-40B4-BE49-F238E27FC236}">
                  <a16:creationId xmlns:a16="http://schemas.microsoft.com/office/drawing/2014/main" id="{93B44480-900D-407B-9ECC-64D9E6A070CF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F30360C0-BF78-49FA-9342-207784974FB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Parallelogram 7">
              <a:extLst>
                <a:ext uri="{FF2B5EF4-FFF2-40B4-BE49-F238E27FC236}">
                  <a16:creationId xmlns:a16="http://schemas.microsoft.com/office/drawing/2014/main" id="{CA999C14-079E-4BDF-9D44-378CCBD27596}"/>
                </a:ext>
              </a:extLst>
            </p:cNvPr>
            <p:cNvSpPr/>
            <p:nvPr/>
          </p:nvSpPr>
          <p:spPr>
            <a:xfrm rot="19421162">
              <a:off x="-192127" y="1140864"/>
              <a:ext cx="1354398" cy="214994"/>
            </a:xfrm>
            <a:prstGeom prst="parallelogram">
              <a:avLst>
                <a:gd name="adj" fmla="val 72003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9" name="Parallelogram 8">
            <a:extLst>
              <a:ext uri="{FF2B5EF4-FFF2-40B4-BE49-F238E27FC236}">
                <a16:creationId xmlns:a16="http://schemas.microsoft.com/office/drawing/2014/main" id="{9F124080-EFE1-4B5B-9DBC-AD50E31CDB0E}"/>
              </a:ext>
            </a:extLst>
          </p:cNvPr>
          <p:cNvSpPr/>
          <p:nvPr userDrawn="1"/>
        </p:nvSpPr>
        <p:spPr>
          <a:xfrm flipH="1">
            <a:off x="71755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5" name="Table Placeholder 11" title="Table"/>
          <p:cNvSpPr>
            <a:spLocks noGrp="1"/>
          </p:cNvSpPr>
          <p:nvPr>
            <p:ph type="tbl" sz="quarter" idx="12"/>
          </p:nvPr>
        </p:nvSpPr>
        <p:spPr>
          <a:xfrm>
            <a:off x="531378" y="2664803"/>
            <a:ext cx="10993375" cy="343318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</a:p>
        </p:txBody>
      </p:sp>
      <p:sp>
        <p:nvSpPr>
          <p:cNvPr id="37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20F29ED2-B42B-4B22-BB7C-BD133BDCACC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37806661-2AB7-4CED-9153-C13AD03E619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A9CD9A6-F6C8-44AD-B84D-F435649391B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639615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r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A30CF550-C460-40A7-B672-53E6A87F674D}"/>
              </a:ext>
            </a:extLst>
          </p:cNvPr>
          <p:cNvSpPr/>
          <p:nvPr userDrawn="1"/>
        </p:nvSpPr>
        <p:spPr>
          <a:xfrm flipV="1">
            <a:off x="0" y="0"/>
            <a:ext cx="10810875" cy="5999163"/>
          </a:xfrm>
          <a:prstGeom prst="rt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1282C31-99D1-4FA3-AEBD-FD54954D5D7B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5345113"/>
            <a:ext cx="2362200" cy="1241425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icture Placeholder 31" title="Image"/>
          <p:cNvSpPr>
            <a:spLocks noGrp="1"/>
          </p:cNvSpPr>
          <p:nvPr>
            <p:ph type="pic" sz="quarter" idx="13"/>
          </p:nvPr>
        </p:nvSpPr>
        <p:spPr>
          <a:xfrm>
            <a:off x="359229" y="326570"/>
            <a:ext cx="11473542" cy="620485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0" tIns="0" anchor="ctr"/>
          <a:lstStyle>
            <a:lvl1pPr marL="0" indent="0" algn="ctr">
              <a:buNone/>
              <a:defRPr sz="11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Title 1" title="Title "/>
          <p:cNvSpPr>
            <a:spLocks noGrp="1"/>
          </p:cNvSpPr>
          <p:nvPr>
            <p:ph type="title"/>
          </p:nvPr>
        </p:nvSpPr>
        <p:spPr>
          <a:xfrm>
            <a:off x="359229" y="558802"/>
            <a:ext cx="8333222" cy="939798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 lIns="288000" anchor="ctr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6270942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4157">
            <a:extLst>
              <a:ext uri="{FF2B5EF4-FFF2-40B4-BE49-F238E27FC236}">
                <a16:creationId xmlns:a16="http://schemas.microsoft.com/office/drawing/2014/main" id="{7C8C5592-E1F1-4874-B328-A72485D34ABA}"/>
              </a:ext>
            </a:extLst>
          </p:cNvPr>
          <p:cNvSpPr/>
          <p:nvPr userDrawn="1"/>
        </p:nvSpPr>
        <p:spPr>
          <a:xfrm>
            <a:off x="6459538" y="3505200"/>
            <a:ext cx="258762" cy="2587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958" y="17505"/>
                </a:moveTo>
                <a:cubicBezTo>
                  <a:pt x="17372" y="16944"/>
                  <a:pt x="16242" y="15945"/>
                  <a:pt x="15117" y="15413"/>
                </a:cubicBezTo>
                <a:cubicBezTo>
                  <a:pt x="14189" y="14975"/>
                  <a:pt x="13657" y="14531"/>
                  <a:pt x="13491" y="14057"/>
                </a:cubicBezTo>
                <a:cubicBezTo>
                  <a:pt x="13377" y="13728"/>
                  <a:pt x="13428" y="13351"/>
                  <a:pt x="13649" y="12904"/>
                </a:cubicBezTo>
                <a:cubicBezTo>
                  <a:pt x="13815" y="12567"/>
                  <a:pt x="13972" y="12286"/>
                  <a:pt x="14117" y="12028"/>
                </a:cubicBezTo>
                <a:cubicBezTo>
                  <a:pt x="14730" y="10934"/>
                  <a:pt x="15203" y="10145"/>
                  <a:pt x="15203" y="7348"/>
                </a:cubicBezTo>
                <a:cubicBezTo>
                  <a:pt x="15203" y="3162"/>
                  <a:pt x="12787" y="2951"/>
                  <a:pt x="12309" y="2951"/>
                </a:cubicBezTo>
                <a:cubicBezTo>
                  <a:pt x="11917" y="2951"/>
                  <a:pt x="11672" y="3037"/>
                  <a:pt x="11435" y="3121"/>
                </a:cubicBezTo>
                <a:cubicBezTo>
                  <a:pt x="11175" y="3213"/>
                  <a:pt x="10907" y="3309"/>
                  <a:pt x="10296" y="3319"/>
                </a:cubicBezTo>
                <a:cubicBezTo>
                  <a:pt x="9190" y="3337"/>
                  <a:pt x="6873" y="3375"/>
                  <a:pt x="6873" y="7226"/>
                </a:cubicBezTo>
                <a:cubicBezTo>
                  <a:pt x="6873" y="9919"/>
                  <a:pt x="7574" y="11156"/>
                  <a:pt x="8125" y="12150"/>
                </a:cubicBezTo>
                <a:cubicBezTo>
                  <a:pt x="8266" y="12404"/>
                  <a:pt x="8399" y="12645"/>
                  <a:pt x="8505" y="12885"/>
                </a:cubicBezTo>
                <a:cubicBezTo>
                  <a:pt x="8973" y="13949"/>
                  <a:pt x="8631" y="14693"/>
                  <a:pt x="7426" y="15224"/>
                </a:cubicBezTo>
                <a:cubicBezTo>
                  <a:pt x="5905" y="15897"/>
                  <a:pt x="5188" y="16247"/>
                  <a:pt x="3693" y="17562"/>
                </a:cubicBezTo>
                <a:cubicBezTo>
                  <a:pt x="2017" y="15800"/>
                  <a:pt x="982" y="134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95"/>
                  <a:pt x="19603" y="15749"/>
                  <a:pt x="17958" y="17505"/>
                </a:cubicBezTo>
                <a:moveTo>
                  <a:pt x="10800" y="20618"/>
                </a:moveTo>
                <a:cubicBezTo>
                  <a:pt x="8356" y="20618"/>
                  <a:pt x="6125" y="19720"/>
                  <a:pt x="4407" y="18242"/>
                </a:cubicBezTo>
                <a:cubicBezTo>
                  <a:pt x="5730" y="17084"/>
                  <a:pt x="6362" y="16767"/>
                  <a:pt x="7823" y="16122"/>
                </a:cubicBezTo>
                <a:cubicBezTo>
                  <a:pt x="9515" y="15375"/>
                  <a:pt x="10091" y="14051"/>
                  <a:pt x="9403" y="12489"/>
                </a:cubicBezTo>
                <a:cubicBezTo>
                  <a:pt x="9279" y="12208"/>
                  <a:pt x="9136" y="11949"/>
                  <a:pt x="8984" y="11674"/>
                </a:cubicBezTo>
                <a:cubicBezTo>
                  <a:pt x="8461" y="10732"/>
                  <a:pt x="7855" y="9665"/>
                  <a:pt x="7855" y="7226"/>
                </a:cubicBezTo>
                <a:cubicBezTo>
                  <a:pt x="7855" y="4341"/>
                  <a:pt x="9224" y="4318"/>
                  <a:pt x="10312" y="4300"/>
                </a:cubicBezTo>
                <a:cubicBezTo>
                  <a:pt x="11084" y="4287"/>
                  <a:pt x="11461" y="4154"/>
                  <a:pt x="11763" y="4047"/>
                </a:cubicBezTo>
                <a:cubicBezTo>
                  <a:pt x="11964" y="3975"/>
                  <a:pt x="12086" y="3933"/>
                  <a:pt x="12309" y="3933"/>
                </a:cubicBezTo>
                <a:cubicBezTo>
                  <a:pt x="13218" y="3933"/>
                  <a:pt x="14221" y="4830"/>
                  <a:pt x="14221" y="7348"/>
                </a:cubicBezTo>
                <a:cubicBezTo>
                  <a:pt x="14221" y="9888"/>
                  <a:pt x="13840" y="10513"/>
                  <a:pt x="13261" y="11548"/>
                </a:cubicBezTo>
                <a:cubicBezTo>
                  <a:pt x="13108" y="11820"/>
                  <a:pt x="12943" y="12115"/>
                  <a:pt x="12768" y="12470"/>
                </a:cubicBezTo>
                <a:cubicBezTo>
                  <a:pt x="12430" y="13155"/>
                  <a:pt x="12362" y="13798"/>
                  <a:pt x="12565" y="14380"/>
                </a:cubicBezTo>
                <a:cubicBezTo>
                  <a:pt x="12825" y="15126"/>
                  <a:pt x="13502" y="15737"/>
                  <a:pt x="14696" y="16302"/>
                </a:cubicBezTo>
                <a:cubicBezTo>
                  <a:pt x="15675" y="16764"/>
                  <a:pt x="16700" y="17667"/>
                  <a:pt x="17251" y="18189"/>
                </a:cubicBezTo>
                <a:cubicBezTo>
                  <a:pt x="15525" y="19697"/>
                  <a:pt x="13272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2" name="Shape 4186">
            <a:extLst>
              <a:ext uri="{FF2B5EF4-FFF2-40B4-BE49-F238E27FC236}">
                <a16:creationId xmlns:a16="http://schemas.microsoft.com/office/drawing/2014/main" id="{738AF00F-E6DB-4FE3-82F6-85B2E7AF6810}"/>
              </a:ext>
            </a:extLst>
          </p:cNvPr>
          <p:cNvSpPr/>
          <p:nvPr userDrawn="1"/>
        </p:nvSpPr>
        <p:spPr>
          <a:xfrm>
            <a:off x="6507163" y="3897313"/>
            <a:ext cx="161925" cy="2968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00" y="1473"/>
                </a:moveTo>
                <a:lnTo>
                  <a:pt x="9900" y="1473"/>
                </a:lnTo>
                <a:cubicBezTo>
                  <a:pt x="9403" y="1473"/>
                  <a:pt x="9000" y="1692"/>
                  <a:pt x="9000" y="1964"/>
                </a:cubicBezTo>
                <a:cubicBezTo>
                  <a:pt x="9000" y="2235"/>
                  <a:pt x="9403" y="2455"/>
                  <a:pt x="9900" y="2455"/>
                </a:cubicBezTo>
                <a:lnTo>
                  <a:pt x="11700" y="2455"/>
                </a:lnTo>
                <a:cubicBezTo>
                  <a:pt x="12197" y="2455"/>
                  <a:pt x="12600" y="2235"/>
                  <a:pt x="12600" y="1964"/>
                </a:cubicBezTo>
                <a:cubicBezTo>
                  <a:pt x="12600" y="1692"/>
                  <a:pt x="12197" y="1473"/>
                  <a:pt x="11700" y="1473"/>
                </a:cubicBezTo>
                <a:moveTo>
                  <a:pt x="19800" y="2945"/>
                </a:moveTo>
                <a:lnTo>
                  <a:pt x="1800" y="2945"/>
                </a:lnTo>
                <a:lnTo>
                  <a:pt x="1800" y="1964"/>
                </a:lnTo>
                <a:cubicBezTo>
                  <a:pt x="1800" y="1422"/>
                  <a:pt x="2605" y="982"/>
                  <a:pt x="3600" y="982"/>
                </a:cubicBezTo>
                <a:lnTo>
                  <a:pt x="18000" y="982"/>
                </a:lnTo>
                <a:cubicBezTo>
                  <a:pt x="18993" y="982"/>
                  <a:pt x="19800" y="1422"/>
                  <a:pt x="19800" y="1964"/>
                </a:cubicBezTo>
                <a:cubicBezTo>
                  <a:pt x="19800" y="1964"/>
                  <a:pt x="19800" y="2945"/>
                  <a:pt x="19800" y="2945"/>
                </a:cubicBezTo>
                <a:close/>
                <a:moveTo>
                  <a:pt x="19800" y="17673"/>
                </a:moveTo>
                <a:lnTo>
                  <a:pt x="1800" y="17673"/>
                </a:lnTo>
                <a:lnTo>
                  <a:pt x="1800" y="3927"/>
                </a:lnTo>
                <a:lnTo>
                  <a:pt x="19800" y="3927"/>
                </a:lnTo>
                <a:cubicBezTo>
                  <a:pt x="19800" y="3927"/>
                  <a:pt x="19800" y="17673"/>
                  <a:pt x="19800" y="17673"/>
                </a:cubicBezTo>
                <a:close/>
                <a:moveTo>
                  <a:pt x="19800" y="19636"/>
                </a:moveTo>
                <a:cubicBezTo>
                  <a:pt x="19800" y="20179"/>
                  <a:pt x="18993" y="20618"/>
                  <a:pt x="18000" y="20618"/>
                </a:cubicBezTo>
                <a:lnTo>
                  <a:pt x="3600" y="20618"/>
                </a:lnTo>
                <a:cubicBezTo>
                  <a:pt x="2605" y="20618"/>
                  <a:pt x="1800" y="20179"/>
                  <a:pt x="1800" y="19636"/>
                </a:cubicBezTo>
                <a:lnTo>
                  <a:pt x="1800" y="18655"/>
                </a:lnTo>
                <a:lnTo>
                  <a:pt x="19800" y="18655"/>
                </a:lnTo>
                <a:cubicBezTo>
                  <a:pt x="19800" y="18655"/>
                  <a:pt x="19800" y="19636"/>
                  <a:pt x="19800" y="19636"/>
                </a:cubicBezTo>
                <a:close/>
                <a:moveTo>
                  <a:pt x="18000" y="0"/>
                </a:moveTo>
                <a:lnTo>
                  <a:pt x="3600" y="0"/>
                </a:lnTo>
                <a:cubicBezTo>
                  <a:pt x="1612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612" y="21600"/>
                  <a:pt x="3600" y="21600"/>
                </a:cubicBezTo>
                <a:lnTo>
                  <a:pt x="18000" y="21600"/>
                </a:lnTo>
                <a:cubicBezTo>
                  <a:pt x="19988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19988" y="0"/>
                  <a:pt x="18000" y="0"/>
                </a:cubicBezTo>
                <a:moveTo>
                  <a:pt x="10800" y="20127"/>
                </a:moveTo>
                <a:cubicBezTo>
                  <a:pt x="11297" y="20127"/>
                  <a:pt x="11700" y="19908"/>
                  <a:pt x="11700" y="19636"/>
                </a:cubicBezTo>
                <a:cubicBezTo>
                  <a:pt x="11700" y="19366"/>
                  <a:pt x="11297" y="19145"/>
                  <a:pt x="10800" y="19145"/>
                </a:cubicBezTo>
                <a:cubicBezTo>
                  <a:pt x="10303" y="19145"/>
                  <a:pt x="9900" y="19366"/>
                  <a:pt x="9900" y="19636"/>
                </a:cubicBezTo>
                <a:cubicBezTo>
                  <a:pt x="9900" y="19908"/>
                  <a:pt x="10303" y="20127"/>
                  <a:pt x="10800" y="20127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4" name="Shape 4379">
            <a:extLst>
              <a:ext uri="{FF2B5EF4-FFF2-40B4-BE49-F238E27FC236}">
                <a16:creationId xmlns:a16="http://schemas.microsoft.com/office/drawing/2014/main" id="{42305002-85EF-4FBB-BBEA-C24897AB78F3}"/>
              </a:ext>
            </a:extLst>
          </p:cNvPr>
          <p:cNvSpPr/>
          <p:nvPr userDrawn="1"/>
        </p:nvSpPr>
        <p:spPr>
          <a:xfrm>
            <a:off x="6459538" y="4327525"/>
            <a:ext cx="258762" cy="1889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8900"/>
                </a:moveTo>
                <a:cubicBezTo>
                  <a:pt x="20618" y="18980"/>
                  <a:pt x="20611" y="19058"/>
                  <a:pt x="20601" y="19135"/>
                </a:cubicBezTo>
                <a:lnTo>
                  <a:pt x="14539" y="10800"/>
                </a:lnTo>
                <a:lnTo>
                  <a:pt x="20601" y="2465"/>
                </a:lnTo>
                <a:cubicBezTo>
                  <a:pt x="20611" y="2542"/>
                  <a:pt x="20618" y="2620"/>
                  <a:pt x="20618" y="2700"/>
                </a:cubicBezTo>
                <a:cubicBezTo>
                  <a:pt x="20618" y="2700"/>
                  <a:pt x="20618" y="18900"/>
                  <a:pt x="20618" y="18900"/>
                </a:cubicBezTo>
                <a:close/>
                <a:moveTo>
                  <a:pt x="19636" y="20250"/>
                </a:moveTo>
                <a:lnTo>
                  <a:pt x="1964" y="20250"/>
                </a:lnTo>
                <a:cubicBezTo>
                  <a:pt x="1849" y="20250"/>
                  <a:pt x="1739" y="20218"/>
                  <a:pt x="1637" y="20168"/>
                </a:cubicBezTo>
                <a:lnTo>
                  <a:pt x="7755" y="11754"/>
                </a:lnTo>
                <a:lnTo>
                  <a:pt x="9440" y="14072"/>
                </a:lnTo>
                <a:cubicBezTo>
                  <a:pt x="9816" y="14589"/>
                  <a:pt x="10308" y="14847"/>
                  <a:pt x="10800" y="14847"/>
                </a:cubicBezTo>
                <a:cubicBezTo>
                  <a:pt x="11292" y="14847"/>
                  <a:pt x="11784" y="14589"/>
                  <a:pt x="12159" y="14072"/>
                </a:cubicBezTo>
                <a:lnTo>
                  <a:pt x="13845" y="11754"/>
                </a:lnTo>
                <a:lnTo>
                  <a:pt x="19964" y="20168"/>
                </a:lnTo>
                <a:cubicBezTo>
                  <a:pt x="19861" y="20218"/>
                  <a:pt x="19752" y="20250"/>
                  <a:pt x="19636" y="20250"/>
                </a:cubicBezTo>
                <a:moveTo>
                  <a:pt x="982" y="18900"/>
                </a:moveTo>
                <a:lnTo>
                  <a:pt x="982" y="2700"/>
                </a:lnTo>
                <a:cubicBezTo>
                  <a:pt x="982" y="2620"/>
                  <a:pt x="989" y="2542"/>
                  <a:pt x="999" y="2465"/>
                </a:cubicBezTo>
                <a:lnTo>
                  <a:pt x="7061" y="10800"/>
                </a:lnTo>
                <a:lnTo>
                  <a:pt x="999" y="19135"/>
                </a:lnTo>
                <a:cubicBezTo>
                  <a:pt x="989" y="19058"/>
                  <a:pt x="982" y="18980"/>
                  <a:pt x="982" y="18900"/>
                </a:cubicBezTo>
                <a:moveTo>
                  <a:pt x="1964" y="1350"/>
                </a:moveTo>
                <a:lnTo>
                  <a:pt x="19636" y="1350"/>
                </a:lnTo>
                <a:cubicBezTo>
                  <a:pt x="19752" y="1350"/>
                  <a:pt x="19861" y="1382"/>
                  <a:pt x="19964" y="1433"/>
                </a:cubicBezTo>
                <a:lnTo>
                  <a:pt x="11465" y="13118"/>
                </a:lnTo>
                <a:cubicBezTo>
                  <a:pt x="11288" y="13362"/>
                  <a:pt x="11051" y="13497"/>
                  <a:pt x="10800" y="13497"/>
                </a:cubicBezTo>
                <a:cubicBezTo>
                  <a:pt x="10549" y="13497"/>
                  <a:pt x="10312" y="13362"/>
                  <a:pt x="10134" y="13118"/>
                </a:cubicBezTo>
                <a:lnTo>
                  <a:pt x="1637" y="1433"/>
                </a:lnTo>
                <a:cubicBezTo>
                  <a:pt x="1739" y="1382"/>
                  <a:pt x="1849" y="1350"/>
                  <a:pt x="1964" y="1350"/>
                </a:cubicBezTo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391"/>
                  <a:pt x="21600" y="18900"/>
                </a:cubicBezTo>
                <a:lnTo>
                  <a:pt x="21600" y="2700"/>
                </a:lnTo>
                <a:cubicBezTo>
                  <a:pt x="21600" y="1209"/>
                  <a:pt x="20721" y="0"/>
                  <a:pt x="19636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5" name="Shape 4487">
            <a:extLst>
              <a:ext uri="{FF2B5EF4-FFF2-40B4-BE49-F238E27FC236}">
                <a16:creationId xmlns:a16="http://schemas.microsoft.com/office/drawing/2014/main" id="{BFFA57F4-B46A-468E-8510-D34D5CA4C838}"/>
              </a:ext>
            </a:extLst>
          </p:cNvPr>
          <p:cNvSpPr/>
          <p:nvPr userDrawn="1"/>
        </p:nvSpPr>
        <p:spPr>
          <a:xfrm>
            <a:off x="6472238" y="4649788"/>
            <a:ext cx="233362" cy="2333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850" y="17620"/>
                </a:moveTo>
                <a:cubicBezTo>
                  <a:pt x="17270" y="17122"/>
                  <a:pt x="16604" y="16682"/>
                  <a:pt x="15855" y="16324"/>
                </a:cubicBezTo>
                <a:cubicBezTo>
                  <a:pt x="15868" y="16284"/>
                  <a:pt x="15882" y="16244"/>
                  <a:pt x="15896" y="16203"/>
                </a:cubicBezTo>
                <a:cubicBezTo>
                  <a:pt x="16131" y="15456"/>
                  <a:pt x="16320" y="14656"/>
                  <a:pt x="16454" y="13811"/>
                </a:cubicBezTo>
                <a:cubicBezTo>
                  <a:pt x="16471" y="13704"/>
                  <a:pt x="16484" y="13596"/>
                  <a:pt x="16499" y="13488"/>
                </a:cubicBezTo>
                <a:cubicBezTo>
                  <a:pt x="16544" y="13166"/>
                  <a:pt x="16581" y="12839"/>
                  <a:pt x="16610" y="12507"/>
                </a:cubicBezTo>
                <a:cubicBezTo>
                  <a:pt x="16621" y="12383"/>
                  <a:pt x="16632" y="12260"/>
                  <a:pt x="16641" y="12135"/>
                </a:cubicBezTo>
                <a:cubicBezTo>
                  <a:pt x="16660" y="11858"/>
                  <a:pt x="16664" y="11574"/>
                  <a:pt x="16673" y="11291"/>
                </a:cubicBezTo>
                <a:lnTo>
                  <a:pt x="20598" y="11291"/>
                </a:lnTo>
                <a:cubicBezTo>
                  <a:pt x="20476" y="13747"/>
                  <a:pt x="19450" y="15962"/>
                  <a:pt x="17850" y="17620"/>
                </a:cubicBezTo>
                <a:moveTo>
                  <a:pt x="13714" y="20178"/>
                </a:moveTo>
                <a:cubicBezTo>
                  <a:pt x="13925" y="19957"/>
                  <a:pt x="14127" y="19710"/>
                  <a:pt x="14321" y="19444"/>
                </a:cubicBezTo>
                <a:cubicBezTo>
                  <a:pt x="14339" y="19419"/>
                  <a:pt x="14357" y="19394"/>
                  <a:pt x="14375" y="19369"/>
                </a:cubicBezTo>
                <a:cubicBezTo>
                  <a:pt x="14764" y="18822"/>
                  <a:pt x="15116" y="18192"/>
                  <a:pt x="15420" y="17488"/>
                </a:cubicBezTo>
                <a:cubicBezTo>
                  <a:pt x="15436" y="17450"/>
                  <a:pt x="15451" y="17410"/>
                  <a:pt x="15467" y="17372"/>
                </a:cubicBezTo>
                <a:cubicBezTo>
                  <a:pt x="15485" y="17329"/>
                  <a:pt x="15499" y="17282"/>
                  <a:pt x="15517" y="17239"/>
                </a:cubicBezTo>
                <a:cubicBezTo>
                  <a:pt x="16123" y="17535"/>
                  <a:pt x="16665" y="17890"/>
                  <a:pt x="17142" y="18285"/>
                </a:cubicBezTo>
                <a:cubicBezTo>
                  <a:pt x="16149" y="19129"/>
                  <a:pt x="14989" y="19782"/>
                  <a:pt x="13714" y="20178"/>
                </a:cubicBezTo>
                <a:moveTo>
                  <a:pt x="11291" y="20569"/>
                </a:moveTo>
                <a:lnTo>
                  <a:pt x="11291" y="16221"/>
                </a:lnTo>
                <a:cubicBezTo>
                  <a:pt x="12498" y="16271"/>
                  <a:pt x="13638" y="16493"/>
                  <a:pt x="14652" y="16869"/>
                </a:cubicBezTo>
                <a:cubicBezTo>
                  <a:pt x="13850" y="18909"/>
                  <a:pt x="12654" y="20298"/>
                  <a:pt x="11291" y="20569"/>
                </a:cubicBezTo>
                <a:moveTo>
                  <a:pt x="11291" y="11291"/>
                </a:moveTo>
                <a:lnTo>
                  <a:pt x="15697" y="11291"/>
                </a:lnTo>
                <a:cubicBezTo>
                  <a:pt x="15655" y="12995"/>
                  <a:pt x="15392" y="14581"/>
                  <a:pt x="14971" y="15948"/>
                </a:cubicBezTo>
                <a:cubicBezTo>
                  <a:pt x="13855" y="15534"/>
                  <a:pt x="12608" y="15291"/>
                  <a:pt x="11291" y="15240"/>
                </a:cubicBezTo>
                <a:cubicBezTo>
                  <a:pt x="11291" y="15240"/>
                  <a:pt x="11291" y="11291"/>
                  <a:pt x="11291" y="11291"/>
                </a:cubicBezTo>
                <a:close/>
                <a:moveTo>
                  <a:pt x="11291" y="6360"/>
                </a:moveTo>
                <a:cubicBezTo>
                  <a:pt x="12608" y="6309"/>
                  <a:pt x="13855" y="6066"/>
                  <a:pt x="14971" y="5652"/>
                </a:cubicBezTo>
                <a:cubicBezTo>
                  <a:pt x="15392" y="7019"/>
                  <a:pt x="15655" y="8605"/>
                  <a:pt x="15697" y="10309"/>
                </a:cubicBezTo>
                <a:lnTo>
                  <a:pt x="11291" y="10309"/>
                </a:lnTo>
                <a:cubicBezTo>
                  <a:pt x="11291" y="10309"/>
                  <a:pt x="11291" y="6360"/>
                  <a:pt x="11291" y="6360"/>
                </a:cubicBezTo>
                <a:close/>
                <a:moveTo>
                  <a:pt x="11291" y="1031"/>
                </a:moveTo>
                <a:cubicBezTo>
                  <a:pt x="12654" y="1302"/>
                  <a:pt x="13850" y="2691"/>
                  <a:pt x="14652" y="4731"/>
                </a:cubicBezTo>
                <a:cubicBezTo>
                  <a:pt x="13638" y="5107"/>
                  <a:pt x="12498" y="5329"/>
                  <a:pt x="11291" y="5379"/>
                </a:cubicBezTo>
                <a:cubicBezTo>
                  <a:pt x="11291" y="5379"/>
                  <a:pt x="11291" y="1031"/>
                  <a:pt x="11291" y="1031"/>
                </a:cubicBezTo>
                <a:close/>
                <a:moveTo>
                  <a:pt x="17142" y="3315"/>
                </a:moveTo>
                <a:cubicBezTo>
                  <a:pt x="16665" y="3711"/>
                  <a:pt x="16123" y="4065"/>
                  <a:pt x="15517" y="4361"/>
                </a:cubicBezTo>
                <a:cubicBezTo>
                  <a:pt x="15499" y="4318"/>
                  <a:pt x="15485" y="4271"/>
                  <a:pt x="15467" y="4229"/>
                </a:cubicBezTo>
                <a:cubicBezTo>
                  <a:pt x="15451" y="4190"/>
                  <a:pt x="15436" y="4151"/>
                  <a:pt x="15420" y="4112"/>
                </a:cubicBezTo>
                <a:cubicBezTo>
                  <a:pt x="15116" y="3408"/>
                  <a:pt x="14764" y="2778"/>
                  <a:pt x="14375" y="2231"/>
                </a:cubicBezTo>
                <a:cubicBezTo>
                  <a:pt x="14357" y="2206"/>
                  <a:pt x="14339" y="2181"/>
                  <a:pt x="14321" y="2156"/>
                </a:cubicBezTo>
                <a:cubicBezTo>
                  <a:pt x="14127" y="1890"/>
                  <a:pt x="13925" y="1643"/>
                  <a:pt x="13714" y="1422"/>
                </a:cubicBezTo>
                <a:cubicBezTo>
                  <a:pt x="14989" y="1818"/>
                  <a:pt x="16149" y="2471"/>
                  <a:pt x="17142" y="3315"/>
                </a:cubicBezTo>
                <a:moveTo>
                  <a:pt x="20598" y="10309"/>
                </a:moveTo>
                <a:lnTo>
                  <a:pt x="16673" y="10309"/>
                </a:lnTo>
                <a:cubicBezTo>
                  <a:pt x="16664" y="10027"/>
                  <a:pt x="16660" y="9742"/>
                  <a:pt x="16641" y="9465"/>
                </a:cubicBezTo>
                <a:cubicBezTo>
                  <a:pt x="16632" y="9340"/>
                  <a:pt x="16621" y="9217"/>
                  <a:pt x="16610" y="9093"/>
                </a:cubicBezTo>
                <a:cubicBezTo>
                  <a:pt x="16581" y="8761"/>
                  <a:pt x="16544" y="8434"/>
                  <a:pt x="16499" y="8112"/>
                </a:cubicBezTo>
                <a:cubicBezTo>
                  <a:pt x="16484" y="8005"/>
                  <a:pt x="16471" y="7896"/>
                  <a:pt x="16454" y="7789"/>
                </a:cubicBezTo>
                <a:cubicBezTo>
                  <a:pt x="16320" y="6944"/>
                  <a:pt x="16131" y="6144"/>
                  <a:pt x="15896" y="5397"/>
                </a:cubicBezTo>
                <a:cubicBezTo>
                  <a:pt x="15882" y="5357"/>
                  <a:pt x="15868" y="5317"/>
                  <a:pt x="15855" y="5276"/>
                </a:cubicBezTo>
                <a:cubicBezTo>
                  <a:pt x="16604" y="4918"/>
                  <a:pt x="17270" y="4478"/>
                  <a:pt x="17850" y="3981"/>
                </a:cubicBezTo>
                <a:cubicBezTo>
                  <a:pt x="19450" y="5638"/>
                  <a:pt x="20476" y="7853"/>
                  <a:pt x="20598" y="10309"/>
                </a:cubicBezTo>
                <a:moveTo>
                  <a:pt x="10309" y="5379"/>
                </a:moveTo>
                <a:cubicBezTo>
                  <a:pt x="9101" y="5329"/>
                  <a:pt x="7961" y="5107"/>
                  <a:pt x="6947" y="4731"/>
                </a:cubicBezTo>
                <a:cubicBezTo>
                  <a:pt x="7749" y="2691"/>
                  <a:pt x="8945" y="1302"/>
                  <a:pt x="10309" y="1031"/>
                </a:cubicBezTo>
                <a:cubicBezTo>
                  <a:pt x="10309" y="1031"/>
                  <a:pt x="10309" y="5379"/>
                  <a:pt x="10309" y="5379"/>
                </a:cubicBezTo>
                <a:close/>
                <a:moveTo>
                  <a:pt x="10309" y="10309"/>
                </a:moveTo>
                <a:lnTo>
                  <a:pt x="5903" y="10309"/>
                </a:lnTo>
                <a:cubicBezTo>
                  <a:pt x="5945" y="8605"/>
                  <a:pt x="6207" y="7019"/>
                  <a:pt x="6629" y="5652"/>
                </a:cubicBezTo>
                <a:cubicBezTo>
                  <a:pt x="7745" y="6066"/>
                  <a:pt x="8991" y="6309"/>
                  <a:pt x="10309" y="6360"/>
                </a:cubicBezTo>
                <a:cubicBezTo>
                  <a:pt x="10309" y="6360"/>
                  <a:pt x="10309" y="10309"/>
                  <a:pt x="10309" y="10309"/>
                </a:cubicBezTo>
                <a:close/>
                <a:moveTo>
                  <a:pt x="10309" y="15240"/>
                </a:moveTo>
                <a:cubicBezTo>
                  <a:pt x="8991" y="15291"/>
                  <a:pt x="7745" y="15534"/>
                  <a:pt x="6629" y="15948"/>
                </a:cubicBezTo>
                <a:cubicBezTo>
                  <a:pt x="6207" y="14581"/>
                  <a:pt x="5945" y="12995"/>
                  <a:pt x="5903" y="11291"/>
                </a:cubicBezTo>
                <a:lnTo>
                  <a:pt x="10309" y="11291"/>
                </a:lnTo>
                <a:cubicBezTo>
                  <a:pt x="10309" y="11291"/>
                  <a:pt x="10309" y="15240"/>
                  <a:pt x="10309" y="15240"/>
                </a:cubicBezTo>
                <a:close/>
                <a:moveTo>
                  <a:pt x="10309" y="20569"/>
                </a:moveTo>
                <a:cubicBezTo>
                  <a:pt x="8945" y="20298"/>
                  <a:pt x="7749" y="18909"/>
                  <a:pt x="6947" y="16869"/>
                </a:cubicBezTo>
                <a:cubicBezTo>
                  <a:pt x="7961" y="16493"/>
                  <a:pt x="9101" y="16271"/>
                  <a:pt x="10309" y="16221"/>
                </a:cubicBezTo>
                <a:cubicBezTo>
                  <a:pt x="10309" y="16221"/>
                  <a:pt x="10309" y="20569"/>
                  <a:pt x="10309" y="20569"/>
                </a:cubicBezTo>
                <a:close/>
                <a:moveTo>
                  <a:pt x="4458" y="18285"/>
                </a:moveTo>
                <a:cubicBezTo>
                  <a:pt x="4934" y="17890"/>
                  <a:pt x="5476" y="17535"/>
                  <a:pt x="6083" y="17239"/>
                </a:cubicBezTo>
                <a:cubicBezTo>
                  <a:pt x="6100" y="17282"/>
                  <a:pt x="6115" y="17329"/>
                  <a:pt x="6132" y="17372"/>
                </a:cubicBezTo>
                <a:cubicBezTo>
                  <a:pt x="6149" y="17410"/>
                  <a:pt x="6163" y="17450"/>
                  <a:pt x="6180" y="17488"/>
                </a:cubicBezTo>
                <a:cubicBezTo>
                  <a:pt x="6484" y="18192"/>
                  <a:pt x="6835" y="18822"/>
                  <a:pt x="7224" y="19369"/>
                </a:cubicBezTo>
                <a:cubicBezTo>
                  <a:pt x="7242" y="19394"/>
                  <a:pt x="7261" y="19419"/>
                  <a:pt x="7279" y="19444"/>
                </a:cubicBezTo>
                <a:cubicBezTo>
                  <a:pt x="7472" y="19710"/>
                  <a:pt x="7674" y="19957"/>
                  <a:pt x="7886" y="20178"/>
                </a:cubicBezTo>
                <a:cubicBezTo>
                  <a:pt x="6610" y="19782"/>
                  <a:pt x="5451" y="19129"/>
                  <a:pt x="4458" y="18285"/>
                </a:cubicBezTo>
                <a:moveTo>
                  <a:pt x="1002" y="11291"/>
                </a:moveTo>
                <a:lnTo>
                  <a:pt x="4927" y="11291"/>
                </a:lnTo>
                <a:cubicBezTo>
                  <a:pt x="4935" y="11574"/>
                  <a:pt x="4940" y="11858"/>
                  <a:pt x="4958" y="12135"/>
                </a:cubicBezTo>
                <a:cubicBezTo>
                  <a:pt x="4967" y="12260"/>
                  <a:pt x="4979" y="12383"/>
                  <a:pt x="4989" y="12507"/>
                </a:cubicBezTo>
                <a:cubicBezTo>
                  <a:pt x="5018" y="12839"/>
                  <a:pt x="5055" y="13166"/>
                  <a:pt x="5100" y="13488"/>
                </a:cubicBezTo>
                <a:cubicBezTo>
                  <a:pt x="5116" y="13596"/>
                  <a:pt x="5129" y="13704"/>
                  <a:pt x="5146" y="13811"/>
                </a:cubicBezTo>
                <a:cubicBezTo>
                  <a:pt x="5280" y="14656"/>
                  <a:pt x="5468" y="15456"/>
                  <a:pt x="5704" y="16203"/>
                </a:cubicBezTo>
                <a:cubicBezTo>
                  <a:pt x="5718" y="16244"/>
                  <a:pt x="5731" y="16284"/>
                  <a:pt x="5744" y="16324"/>
                </a:cubicBezTo>
                <a:cubicBezTo>
                  <a:pt x="4996" y="16682"/>
                  <a:pt x="4330" y="17122"/>
                  <a:pt x="3749" y="17620"/>
                </a:cubicBezTo>
                <a:cubicBezTo>
                  <a:pt x="2150" y="15962"/>
                  <a:pt x="1123" y="13747"/>
                  <a:pt x="1002" y="11291"/>
                </a:cubicBezTo>
                <a:moveTo>
                  <a:pt x="3749" y="3981"/>
                </a:moveTo>
                <a:cubicBezTo>
                  <a:pt x="4330" y="4478"/>
                  <a:pt x="4996" y="4918"/>
                  <a:pt x="5744" y="5276"/>
                </a:cubicBezTo>
                <a:cubicBezTo>
                  <a:pt x="5731" y="5317"/>
                  <a:pt x="5718" y="5357"/>
                  <a:pt x="5704" y="5397"/>
                </a:cubicBezTo>
                <a:cubicBezTo>
                  <a:pt x="5469" y="6144"/>
                  <a:pt x="5280" y="6944"/>
                  <a:pt x="5146" y="7789"/>
                </a:cubicBezTo>
                <a:cubicBezTo>
                  <a:pt x="5129" y="7896"/>
                  <a:pt x="5116" y="8005"/>
                  <a:pt x="5100" y="8112"/>
                </a:cubicBezTo>
                <a:cubicBezTo>
                  <a:pt x="5055" y="8434"/>
                  <a:pt x="5018" y="8761"/>
                  <a:pt x="4989" y="9093"/>
                </a:cubicBezTo>
                <a:cubicBezTo>
                  <a:pt x="4979" y="9217"/>
                  <a:pt x="4967" y="9340"/>
                  <a:pt x="4958" y="9465"/>
                </a:cubicBezTo>
                <a:cubicBezTo>
                  <a:pt x="4940" y="9742"/>
                  <a:pt x="4935" y="10027"/>
                  <a:pt x="4927" y="10309"/>
                </a:cubicBezTo>
                <a:lnTo>
                  <a:pt x="1002" y="10309"/>
                </a:lnTo>
                <a:cubicBezTo>
                  <a:pt x="1123" y="7853"/>
                  <a:pt x="2150" y="5638"/>
                  <a:pt x="3749" y="3981"/>
                </a:cubicBezTo>
                <a:moveTo>
                  <a:pt x="7886" y="1422"/>
                </a:moveTo>
                <a:cubicBezTo>
                  <a:pt x="7674" y="1643"/>
                  <a:pt x="7472" y="1890"/>
                  <a:pt x="7279" y="2156"/>
                </a:cubicBezTo>
                <a:cubicBezTo>
                  <a:pt x="7261" y="2181"/>
                  <a:pt x="7242" y="2206"/>
                  <a:pt x="7224" y="2231"/>
                </a:cubicBezTo>
                <a:cubicBezTo>
                  <a:pt x="6835" y="2778"/>
                  <a:pt x="6484" y="3408"/>
                  <a:pt x="6180" y="4112"/>
                </a:cubicBezTo>
                <a:cubicBezTo>
                  <a:pt x="6163" y="4151"/>
                  <a:pt x="6149" y="4190"/>
                  <a:pt x="6132" y="4229"/>
                </a:cubicBezTo>
                <a:cubicBezTo>
                  <a:pt x="6115" y="4271"/>
                  <a:pt x="6100" y="4318"/>
                  <a:pt x="6083" y="4361"/>
                </a:cubicBezTo>
                <a:cubicBezTo>
                  <a:pt x="5476" y="4065"/>
                  <a:pt x="4934" y="3711"/>
                  <a:pt x="4458" y="3315"/>
                </a:cubicBezTo>
                <a:cubicBezTo>
                  <a:pt x="5451" y="2471"/>
                  <a:pt x="6610" y="1818"/>
                  <a:pt x="7886" y="1422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6" name="Right Triangle 15">
            <a:extLst>
              <a:ext uri="{FF2B5EF4-FFF2-40B4-BE49-F238E27FC236}">
                <a16:creationId xmlns:a16="http://schemas.microsoft.com/office/drawing/2014/main" id="{9EA6EC03-3240-4BFE-903B-9086AD70165B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F81876B-557E-4354-8218-FCBE24F07794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3BB499B-4497-4065-B84B-F9EE5CE40848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3924300"/>
            <a:ext cx="5816600" cy="2933700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1821022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6822929" y="3461163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822929" y="3839451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6822928" y="4216669"/>
            <a:ext cx="3445783" cy="2890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6822929" y="4594957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7908915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529739E2-7CDD-40D9-96A6-417CEDE8F6C7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CECA666-B8C5-4AEF-93E3-545D268BAA01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1A035CC-66C9-46CB-B021-D95C80A56570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DDBC90A-5FB6-4B5A-99D9-86323AC16DC9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759824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3DF1B4-6A5B-EE48-A161-B7D7317D4A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0AB5B09-4B25-C941-B651-BAEB7912543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31D0C27-E88A-6344-A1BC-C38CA00FEB0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4066F6-CD65-7C4E-9BE9-DD2E6A2D30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5B0FF9-0FA4-4C1C-8F36-081020902CF9}" type="datetime1">
              <a:rPr lang="en-US" smtClean="0"/>
              <a:t>5/1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CB48E9-270D-174B-B7D7-1B942194DA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1C57802-4307-024D-84FE-8EC7B33F91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342392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BC6F4D39-5A42-4613-A440-F7E76DAA9F23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3D44A1E9-BFAA-440C-99ED-7C7C0A81406D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4F793B2-2196-4E73-B5B0-943A768AE8CD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F5C86CD-3EDB-48B4-A50A-ADC3571F36C3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arallelogram 7">
            <a:extLst>
              <a:ext uri="{FF2B5EF4-FFF2-40B4-BE49-F238E27FC236}">
                <a16:creationId xmlns:a16="http://schemas.microsoft.com/office/drawing/2014/main" id="{E585AA3C-A2DA-4664-B361-57779E76DFCA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651F49B-F3B8-4B9D-8977-F105C885E79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044A716-1F6E-45C3-830A-4792A7184B44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3E87D367-D3BD-49B4-98C3-062967494D8E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145657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5F22C077-F5C2-4BEC-A858-7D28FA408A78}"/>
              </a:ext>
            </a:extLst>
          </p:cNvPr>
          <p:cNvGrpSpPr/>
          <p:nvPr userDrawn="1"/>
        </p:nvGrpSpPr>
        <p:grpSpPr>
          <a:xfrm flipH="1">
            <a:off x="7561328" y="0"/>
            <a:ext cx="4840632" cy="3541007"/>
            <a:chOff x="-200919" y="-2"/>
            <a:chExt cx="4840632" cy="3367272"/>
          </a:xfrm>
          <a:solidFill>
            <a:schemeClr val="bg1">
              <a:lumMod val="85000"/>
            </a:schemeClr>
          </a:solidFill>
        </p:grpSpPr>
        <p:sp>
          <p:nvSpPr>
            <p:cNvPr id="5" name="Diagonal Stripe 4">
              <a:extLst>
                <a:ext uri="{FF2B5EF4-FFF2-40B4-BE49-F238E27FC236}">
                  <a16:creationId xmlns:a16="http://schemas.microsoft.com/office/drawing/2014/main" id="{0E00A484-E419-4B69-A11F-B25180478520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748CCF5B-F8B3-4E4A-BC40-A3CC9B76CB3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Parallelogram 6">
              <a:extLst>
                <a:ext uri="{FF2B5EF4-FFF2-40B4-BE49-F238E27FC236}">
                  <a16:creationId xmlns:a16="http://schemas.microsoft.com/office/drawing/2014/main" id="{A21F7697-41FB-40DC-973D-DE1BC18AA111}"/>
                </a:ext>
              </a:extLst>
            </p:cNvPr>
            <p:cNvSpPr/>
            <p:nvPr/>
          </p:nvSpPr>
          <p:spPr>
            <a:xfrm rot="19340935">
              <a:off x="-200919" y="1140864"/>
              <a:ext cx="1354398" cy="214994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8" name="Parallelogram 7">
            <a:extLst>
              <a:ext uri="{FF2B5EF4-FFF2-40B4-BE49-F238E27FC236}">
                <a16:creationId xmlns:a16="http://schemas.microsoft.com/office/drawing/2014/main" id="{E7693084-24CE-4F75-B6D7-EB3A32FE70CE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1"/>
          </p:nvPr>
        </p:nvSpPr>
        <p:spPr>
          <a:xfrm>
            <a:off x="518678" y="1671924"/>
            <a:ext cx="10835122" cy="450503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7C264062-7966-4C14-A272-07B899E90FA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03998777-8C19-4A65-B4DB-E012E96F576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7C2BB20-774F-4B8D-8D40-E82AE2F27CA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22743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6">
            <a:extLst>
              <a:ext uri="{FF2B5EF4-FFF2-40B4-BE49-F238E27FC236}">
                <a16:creationId xmlns:a16="http://schemas.microsoft.com/office/drawing/2014/main" id="{15A78023-6584-4480-9D72-45D44D87B01A}"/>
              </a:ext>
            </a:extLst>
          </p:cNvPr>
          <p:cNvGrpSpPr>
            <a:grpSpLocks/>
          </p:cNvGrpSpPr>
          <p:nvPr userDrawn="1"/>
        </p:nvGrpSpPr>
        <p:grpSpPr bwMode="auto">
          <a:xfrm flipH="1">
            <a:off x="7561263" y="0"/>
            <a:ext cx="4832350" cy="3541713"/>
            <a:chOff x="-192127" y="-2"/>
            <a:chExt cx="4831840" cy="3367272"/>
          </a:xfrm>
        </p:grpSpPr>
        <p:sp>
          <p:nvSpPr>
            <p:cNvPr id="3" name="Diagonal Stripe 2">
              <a:extLst>
                <a:ext uri="{FF2B5EF4-FFF2-40B4-BE49-F238E27FC236}">
                  <a16:creationId xmlns:a16="http://schemas.microsoft.com/office/drawing/2014/main" id="{4F2318C7-CD15-43FA-8752-3330B5563A2D}"/>
                </a:ext>
              </a:extLst>
            </p:cNvPr>
            <p:cNvSpPr/>
            <p:nvPr userDrawn="1"/>
          </p:nvSpPr>
          <p:spPr>
            <a:xfrm>
              <a:off x="-59" y="-2"/>
              <a:ext cx="4639772" cy="3367272"/>
            </a:xfrm>
            <a:prstGeom prst="diagStripe">
              <a:avLst>
                <a:gd name="adj" fmla="val 51202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9D9DBA7B-CF6F-4922-9FFA-B3B8B3AC9AA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433301" y="-2"/>
              <a:ext cx="1241294" cy="916152"/>
            </a:xfrm>
            <a:prstGeom prst="line">
              <a:avLst/>
            </a:prstGeom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Parallelogram 4">
              <a:extLst>
                <a:ext uri="{FF2B5EF4-FFF2-40B4-BE49-F238E27FC236}">
                  <a16:creationId xmlns:a16="http://schemas.microsoft.com/office/drawing/2014/main" id="{588F356E-7062-4D24-9BEB-23D0E53AF854}"/>
                </a:ext>
              </a:extLst>
            </p:cNvPr>
            <p:cNvSpPr/>
            <p:nvPr userDrawn="1"/>
          </p:nvSpPr>
          <p:spPr>
            <a:xfrm rot="19421162">
              <a:off x="-192127" y="1141037"/>
              <a:ext cx="1353995" cy="214322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6" name="Parallelogram 5">
            <a:extLst>
              <a:ext uri="{FF2B5EF4-FFF2-40B4-BE49-F238E27FC236}">
                <a16:creationId xmlns:a16="http://schemas.microsoft.com/office/drawing/2014/main" id="{205DC664-756B-40CB-BB91-613CC5BD61CD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5B750CCD-2DE4-4B46-A657-B2B04E96411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F33A136-33A2-4C58-B80F-A79CC0849F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4665023-AE77-46E6-B553-DBB992C5C17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286048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0BCC4BF7-E260-4343-94B9-3A4807FD286B}"/>
              </a:ext>
            </a:extLst>
          </p:cNvPr>
          <p:cNvGrpSpPr/>
          <p:nvPr userDrawn="1"/>
        </p:nvGrpSpPr>
        <p:grpSpPr>
          <a:xfrm flipH="1">
            <a:off x="7561328" y="0"/>
            <a:ext cx="4831840" cy="3541007"/>
            <a:chOff x="-192127" y="-2"/>
            <a:chExt cx="4831840" cy="3367272"/>
          </a:xfrm>
          <a:solidFill>
            <a:schemeClr val="bg1">
              <a:lumMod val="85000"/>
            </a:schemeClr>
          </a:solidFill>
        </p:grpSpPr>
        <p:sp>
          <p:nvSpPr>
            <p:cNvPr id="4" name="Diagonal Stripe 3">
              <a:extLst>
                <a:ext uri="{FF2B5EF4-FFF2-40B4-BE49-F238E27FC236}">
                  <a16:creationId xmlns:a16="http://schemas.microsoft.com/office/drawing/2014/main" id="{B5172F52-1B08-4F13-8B13-53C3DD46384F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92765506-E6B4-4423-893C-1E855C8A2A6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Parallelogram 5">
              <a:extLst>
                <a:ext uri="{FF2B5EF4-FFF2-40B4-BE49-F238E27FC236}">
                  <a16:creationId xmlns:a16="http://schemas.microsoft.com/office/drawing/2014/main" id="{CFD0E567-0DC7-47D6-8BFC-EA0C9D6A2710}"/>
                </a:ext>
              </a:extLst>
            </p:cNvPr>
            <p:cNvSpPr/>
            <p:nvPr/>
          </p:nvSpPr>
          <p:spPr>
            <a:xfrm rot="19421162">
              <a:off x="-192127" y="1140864"/>
              <a:ext cx="1354398" cy="214994"/>
            </a:xfrm>
            <a:prstGeom prst="parallelogram">
              <a:avLst>
                <a:gd name="adj" fmla="val 72003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7" name="Parallelogram 6">
            <a:extLst>
              <a:ext uri="{FF2B5EF4-FFF2-40B4-BE49-F238E27FC236}">
                <a16:creationId xmlns:a16="http://schemas.microsoft.com/office/drawing/2014/main" id="{F6B79687-4727-4249-AF60-8D11D5DCEB58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3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CC797181-F8E0-4868-BCDC-2F86B66869B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E948DCC1-4550-4431-B213-F92051378D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9FD5826-C55D-41B1-812A-A1B17D08968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35740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86DFF8-4F5D-0447-9530-6945A7DF1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E76C8C-1DF1-F940-8AC4-ED27353835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7FD699E-594C-C84D-B1FE-6D15A3DFCE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AEF75B4-8002-B748-849E-914832A05C7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2817E6E-B0A7-AF40-8211-B7854AF00CC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57CFC29-7D31-BF4F-B05B-75DC874E2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750A7B-F58A-4119-9DB7-BF10F0C3745A}" type="datetime1">
              <a:rPr lang="en-US" smtClean="0"/>
              <a:t>5/10/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221A41D-F441-9646-A2BD-86C236BACA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6371AC4-4D21-344C-8EC5-98CD2B5264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27564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132520-F605-7843-A767-9F3C0BFAE1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68447BB-FC85-8445-8068-138DD5634A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FE7734-399F-41D2-953C-DC1C65624066}" type="datetime1">
              <a:rPr lang="en-US" smtClean="0"/>
              <a:t>5/10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1E691AB-F8AE-824B-825B-FF2C6E9EF1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509246-C5E1-164F-8E35-36AE58C749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20784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4C98ACA-C8CA-1341-8A52-DC61CFF871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0EC3DD-91A9-4EC3-934B-3458A79E087C}" type="datetime1">
              <a:rPr lang="en-US" smtClean="0"/>
              <a:t>5/10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91C092-BACC-8740-B71A-D664C2C4D1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0464C1-568A-0048-96B9-FA74C2117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40368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2620CA-9716-E34E-B24F-6F3C15E64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8FD6DB-B85B-4949-A7A4-33BE0EB09A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E38D8-00CD-E942-8B7B-103E7FDBAF4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41A6466-FF03-6543-B9F5-70724B11CF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D19D45-DDB9-45F7-A7CC-2B572801A2E2}" type="datetime1">
              <a:rPr lang="en-US" smtClean="0"/>
              <a:t>5/1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A300DE-4E71-754A-A0A2-94BE94B77A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90D482F-1BFC-7F4C-8AE9-5FE4658F3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872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00088F-BBEC-0F4C-BB4A-AC617F0233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7D37FD3-E518-7A43-8FE1-A4CADAF74F9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48DEE87-0C25-2E40-AC2E-0E78A0AFDBE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8D0C433-0542-1342-AC73-7EAEC7D96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D8AE04-174D-46D3-9D33-F6399E3E6BC9}" type="datetime1">
              <a:rPr lang="en-US" smtClean="0"/>
              <a:t>5/1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8637A2-D0E2-0B45-882F-46F2FC06F1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54C0748-F7C5-1543-BF4B-EE26F30874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79268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8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F02CAA2-0EFA-4F4A-8AC1-8524C680A0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ABAAF8-6423-7F42-BE4B-D78180EBB5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7BC6DB-502C-F442-984F-952AC163288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B872DE-0E22-48E5-8A00-D268608FD87F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000755-CEAA-CA43-9FB4-D13CAB0FD6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7C95F0-BA3B-864C-96C3-F7C5D75018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5792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4B42DE-ECE9-486A-8780-F04A9C997E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81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C55BC7-FC64-4E9A-A9BB-533D4E045F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7425" y="6356350"/>
            <a:ext cx="739775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76530178-0652-427E-A8A3-856E4450533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4100" name="Title Placeholder 8">
            <a:extLst>
              <a:ext uri="{FF2B5EF4-FFF2-40B4-BE49-F238E27FC236}">
                <a16:creationId xmlns:a16="http://schemas.microsoft.com/office/drawing/2014/main" id="{1A88BE4F-E373-44DE-AA19-99F734F2247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519113" y="209550"/>
            <a:ext cx="10834687" cy="1147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513205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</p:sldLayoutIdLst>
  <p:hf hd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en-IN" sz="4400" b="1" kern="12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sz="24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sz="20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IN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5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svg"/><Relationship Id="rId3" Type="http://schemas.openxmlformats.org/officeDocument/2006/relationships/image" Target="../media/image8.png"/><Relationship Id="rId7" Type="http://schemas.openxmlformats.org/officeDocument/2006/relationships/image" Target="../media/image12.svg"/><Relationship Id="rId12" Type="http://schemas.openxmlformats.org/officeDocument/2006/relationships/image" Target="../media/image1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11" Type="http://schemas.openxmlformats.org/officeDocument/2006/relationships/image" Target="../media/image16.sv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6258" name="Picture 5">
            <a:extLst>
              <a:ext uri="{FF2B5EF4-FFF2-40B4-BE49-F238E27FC236}">
                <a16:creationId xmlns:a16="http://schemas.microsoft.com/office/drawing/2014/main" id="{96575726-AB8D-477B-925E-64A6B439C3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175" y="1103313"/>
            <a:ext cx="4122738" cy="83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9" name="Text Placeholder 5">
            <a:extLst>
              <a:ext uri="{FF2B5EF4-FFF2-40B4-BE49-F238E27FC236}">
                <a16:creationId xmlns:a16="http://schemas.microsoft.com/office/drawing/2014/main" id="{91DC8B7A-0AAE-4FA8-9FD4-DC99714286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8821" y="4122588"/>
            <a:ext cx="8253800" cy="10991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6858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2E7A40"/>
              </a:buClr>
              <a:buSzTx/>
              <a:buFontTx/>
              <a:buNone/>
              <a:tabLst/>
              <a:defRPr/>
            </a:pPr>
            <a:r>
              <a:rPr kumimoji="0" lang="en-US" altLang="en-US" sz="2800" b="0" i="0" u="none" strike="noStrike" kern="120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rPr>
              <a:t>Scenario 5:  </a:t>
            </a:r>
            <a:r>
              <a:rPr kumimoji="0" lang="en-US" alt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rPr>
              <a:t>Wet Roads due to Overwatering 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2E7A40"/>
              </a:buClr>
              <a:buSzTx/>
              <a:buFontTx/>
              <a:buNone/>
              <a:tabLst/>
              <a:defRPr/>
            </a:pPr>
            <a:r>
              <a:rPr kumimoji="0" lang="en-US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rPr>
              <a:t>Version October 2020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2E7A40"/>
              </a:buClr>
              <a:buSzTx/>
              <a:buFontTx/>
              <a:buNone/>
              <a:tabLst/>
              <a:defRPr/>
            </a:pPr>
            <a:endParaRPr kumimoji="0" lang="en-US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Calibri" panose="020F050202020403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96260" name="Picture 19">
            <a:extLst>
              <a:ext uri="{FF2B5EF4-FFF2-40B4-BE49-F238E27FC236}">
                <a16:creationId xmlns:a16="http://schemas.microsoft.com/office/drawing/2014/main" id="{FA3DD556-8C06-4FDE-86A1-37870B7BF4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39" t="44743" r="7394" b="38982"/>
          <a:stretch>
            <a:fillRect/>
          </a:stretch>
        </p:blipFill>
        <p:spPr bwMode="auto">
          <a:xfrm>
            <a:off x="6452075" y="6273502"/>
            <a:ext cx="1670050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1" name="Picture 16">
            <a:extLst>
              <a:ext uri="{FF2B5EF4-FFF2-40B4-BE49-F238E27FC236}">
                <a16:creationId xmlns:a16="http://schemas.microsoft.com/office/drawing/2014/main" id="{F4510B1D-3E19-4924-A455-F57C8A7702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3118" y="6278265"/>
            <a:ext cx="811213" cy="319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2" name="Picture 12">
            <a:extLst>
              <a:ext uri="{FF2B5EF4-FFF2-40B4-BE49-F238E27FC236}">
                <a16:creationId xmlns:a16="http://schemas.microsoft.com/office/drawing/2014/main" id="{E9107983-AEB7-4105-AF55-43DF2814AE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0146" y="6271914"/>
            <a:ext cx="1504950" cy="325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3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B780F427-DAAA-458C-8F91-BB376DD865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4896" y="6156027"/>
            <a:ext cx="1990725" cy="44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4" name="Picture 15">
            <a:extLst>
              <a:ext uri="{FF2B5EF4-FFF2-40B4-BE49-F238E27FC236}">
                <a16:creationId xmlns:a16="http://schemas.microsoft.com/office/drawing/2014/main" id="{CBD8023F-3D9B-4D6C-90EA-0BA073DC4F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413" y="6079827"/>
            <a:ext cx="1541462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5" name="Picture 10" descr="A picture containing clock, sign&#10;&#10;Description automatically generated">
            <a:extLst>
              <a:ext uri="{FF2B5EF4-FFF2-40B4-BE49-F238E27FC236}">
                <a16:creationId xmlns:a16="http://schemas.microsoft.com/office/drawing/2014/main" id="{73ADDEBA-4735-4802-A4A7-0E60B68D18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642" y="6305252"/>
            <a:ext cx="760412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Box 1">
            <a:extLst>
              <a:ext uri="{FF2B5EF4-FFF2-40B4-BE49-F238E27FC236}">
                <a16:creationId xmlns:a16="http://schemas.microsoft.com/office/drawing/2014/main" id="{0C2C7FC1-0259-4290-B89E-6BB8A52FE52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08881" y="2319189"/>
            <a:ext cx="9774237" cy="125382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0" cap="none" spc="0" normalizeH="0" baseline="0" noProof="0" dirty="0">
                <a:ln>
                  <a:noFill/>
                </a:ln>
                <a:solidFill>
                  <a:srgbClr val="BA6E2C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Vehicle Interaction Control Improvement Project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BA6E2C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Vehicle Interaction Knowledge Hub Resource - </a:t>
            </a:r>
            <a:r>
              <a:rPr kumimoji="0" lang="en-AU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BA6E2C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Story Board Series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1343328-5B38-4A53-B55D-7FCC053CF4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3401" y="209028"/>
            <a:ext cx="9101183" cy="1215566"/>
          </a:xfrm>
        </p:spPr>
        <p:txBody>
          <a:bodyPr>
            <a:normAutofit fontScale="90000"/>
          </a:bodyPr>
          <a:lstStyle/>
          <a:p>
            <a:r>
              <a:rPr lang="en-AU" dirty="0"/>
              <a:t>Adapting and Using EMESRT Story Boards</a:t>
            </a:r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A5AD79E0-86DD-485A-B0CB-35369107F4D8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46449" y="1651518"/>
            <a:ext cx="9619861" cy="455323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72000" tIns="0" rIns="36000" bIns="36000"/>
          <a:lstStyle/>
          <a:p>
            <a:pPr defTabSz="914400" eaLnBrk="1" fontAlgn="auto" hangingPunct="1">
              <a:spcBef>
                <a:spcPts val="0"/>
              </a:spcBef>
              <a:spcAft>
                <a:spcPts val="1200"/>
              </a:spcAft>
              <a:defRPr/>
            </a:pPr>
            <a:r>
              <a:rPr lang="en-AU" sz="2000" b="1" kern="0" dirty="0">
                <a:latin typeface="Calibri" pitchFamily="34" charset="0"/>
                <a:cs typeface="Calibri" pitchFamily="34" charset="0"/>
              </a:rPr>
              <a:t>What are they? </a:t>
            </a:r>
          </a:p>
          <a:p>
            <a:pPr marL="207450" indent="-171450" defTabSz="914400" eaLnBrk="1" fontAlgn="auto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2000" kern="0" dirty="0">
                <a:latin typeface="Calibri" pitchFamily="34" charset="0"/>
                <a:cs typeface="Calibri" pitchFamily="34" charset="0"/>
              </a:rPr>
              <a:t>The Story Board approach was developed by an EMESRT Member Company to assist with the specification and installation of Proximity Detection Systems (PDS) on mobile equipment at surface mines</a:t>
            </a:r>
          </a:p>
          <a:p>
            <a:pPr marL="207450" indent="-171450" defTabSz="914400" eaLnBrk="1" fontAlgn="auto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2000" kern="0" dirty="0">
                <a:latin typeface="Calibri" pitchFamily="34" charset="0"/>
                <a:cs typeface="Calibri" pitchFamily="34" charset="0"/>
              </a:rPr>
              <a:t>They provide a visual and dynamic reference for equipment operators, PDS suppliers VI Control Improvement project managers as they implement VI intervention controls (EMESRT Levels 8–9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000" b="1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How can I use them?</a:t>
            </a:r>
          </a:p>
          <a:p>
            <a:pPr marL="207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Review each Story Board </a:t>
            </a:r>
            <a:r>
              <a:rPr lang="en-US" sz="2000" kern="0" dirty="0">
                <a:solidFill>
                  <a:srgbClr val="3F3F3F"/>
                </a:solidFill>
                <a:latin typeface="Calibri" pitchFamily="34" charset="0"/>
                <a:cs typeface="Calibri" pitchFamily="34" charset="0"/>
              </a:rPr>
              <a:t>in presentation mode</a:t>
            </a:r>
          </a:p>
          <a:p>
            <a:pPr marL="207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As required, adapt the resource to your circumstances </a:t>
            </a:r>
          </a:p>
          <a:p>
            <a:pPr marL="207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kern="0" dirty="0">
                <a:solidFill>
                  <a:srgbClr val="3F3F3F"/>
                </a:solidFill>
                <a:latin typeface="Calibri" pitchFamily="34" charset="0"/>
                <a:cs typeface="Calibri" pitchFamily="34" charset="0"/>
              </a:rPr>
              <a:t>Use the Story Boards as a resource during </a:t>
            </a:r>
            <a:r>
              <a:rPr lang="en-US" sz="2000" i="1" kern="0" dirty="0">
                <a:solidFill>
                  <a:srgbClr val="3F3F3F"/>
                </a:solidFill>
                <a:latin typeface="Calibri" pitchFamily="34" charset="0"/>
                <a:cs typeface="Calibri" pitchFamily="34" charset="0"/>
              </a:rPr>
              <a:t>Phase 4 - New Technology Implementation </a:t>
            </a:r>
            <a:endParaRPr lang="en-US" sz="2000" i="1" kern="0" dirty="0">
              <a:solidFill>
                <a:srgbClr val="001100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73387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1E92D1C-F046-594F-A9D9-193870BA93A2}"/>
              </a:ext>
            </a:extLst>
          </p:cNvPr>
          <p:cNvSpPr/>
          <p:nvPr/>
        </p:nvSpPr>
        <p:spPr>
          <a:xfrm>
            <a:off x="1355034" y="723721"/>
            <a:ext cx="2623931" cy="6134279"/>
          </a:xfrm>
          <a:prstGeom prst="rect">
            <a:avLst/>
          </a:prstGeom>
          <a:blipFill>
            <a:blip r:embed="rId3"/>
            <a:tile tx="0" ty="0" sx="100000" sy="100000" flip="none" algn="tl"/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DD63B3B-45F5-9F4A-8375-A3BA1EC80EC2}"/>
              </a:ext>
            </a:extLst>
          </p:cNvPr>
          <p:cNvSpPr/>
          <p:nvPr/>
        </p:nvSpPr>
        <p:spPr>
          <a:xfrm>
            <a:off x="1421296" y="1292028"/>
            <a:ext cx="1351721" cy="3384534"/>
          </a:xfrm>
          <a:prstGeom prst="rect">
            <a:avLst/>
          </a:prstGeom>
          <a:solidFill>
            <a:schemeClr val="lt1">
              <a:alpha val="16000"/>
            </a:schemeClr>
          </a:solidFill>
          <a:ln w="38100">
            <a:solidFill>
              <a:schemeClr val="tx1"/>
            </a:solidFill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9" name="Picture 18" descr="A screen shot of a computer&#10;&#10;Description automatically generated">
            <a:extLst>
              <a:ext uri="{FF2B5EF4-FFF2-40B4-BE49-F238E27FC236}">
                <a16:creationId xmlns:a16="http://schemas.microsoft.com/office/drawing/2014/main" id="{2509E830-B37F-6040-8CDB-C91D0DC4BB7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70479" y="954157"/>
            <a:ext cx="1881234" cy="313828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5780C5F-701C-CC4D-A193-37F33391B4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16" y="76366"/>
            <a:ext cx="6224897" cy="637252"/>
          </a:xfrm>
        </p:spPr>
        <p:txBody>
          <a:bodyPr>
            <a:normAutofit/>
          </a:bodyPr>
          <a:lstStyle/>
          <a:p>
            <a:r>
              <a:rPr lang="en-US" sz="3600" dirty="0"/>
              <a:t>Wet Roads Due to Overwatering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CB39255-1405-BB4C-94AA-42751F2BE628}"/>
              </a:ext>
            </a:extLst>
          </p:cNvPr>
          <p:cNvSpPr txBox="1">
            <a:spLocks/>
          </p:cNvSpPr>
          <p:nvPr/>
        </p:nvSpPr>
        <p:spPr>
          <a:xfrm>
            <a:off x="7270010" y="1331844"/>
            <a:ext cx="4833730" cy="56878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8CB482B-7408-8F4D-8477-0E9866D6479A}"/>
              </a:ext>
            </a:extLst>
          </p:cNvPr>
          <p:cNvSpPr/>
          <p:nvPr/>
        </p:nvSpPr>
        <p:spPr>
          <a:xfrm rot="10800000">
            <a:off x="1510747" y="2484784"/>
            <a:ext cx="1152939" cy="2050196"/>
          </a:xfrm>
          <a:custGeom>
            <a:avLst/>
            <a:gdLst>
              <a:gd name="connsiteX0" fmla="*/ 0 w 1152939"/>
              <a:gd name="connsiteY0" fmla="*/ 0 h 2050196"/>
              <a:gd name="connsiteX1" fmla="*/ 564940 w 1152939"/>
              <a:gd name="connsiteY1" fmla="*/ 0 h 2050196"/>
              <a:gd name="connsiteX2" fmla="*/ 1152939 w 1152939"/>
              <a:gd name="connsiteY2" fmla="*/ 0 h 2050196"/>
              <a:gd name="connsiteX3" fmla="*/ 1152939 w 1152939"/>
              <a:gd name="connsiteY3" fmla="*/ 533051 h 2050196"/>
              <a:gd name="connsiteX4" fmla="*/ 1152939 w 1152939"/>
              <a:gd name="connsiteY4" fmla="*/ 1045600 h 2050196"/>
              <a:gd name="connsiteX5" fmla="*/ 1152939 w 1152939"/>
              <a:gd name="connsiteY5" fmla="*/ 1496643 h 2050196"/>
              <a:gd name="connsiteX6" fmla="*/ 1152939 w 1152939"/>
              <a:gd name="connsiteY6" fmla="*/ 2050196 h 2050196"/>
              <a:gd name="connsiteX7" fmla="*/ 553411 w 1152939"/>
              <a:gd name="connsiteY7" fmla="*/ 2050196 h 2050196"/>
              <a:gd name="connsiteX8" fmla="*/ 0 w 1152939"/>
              <a:gd name="connsiteY8" fmla="*/ 2050196 h 2050196"/>
              <a:gd name="connsiteX9" fmla="*/ 0 w 1152939"/>
              <a:gd name="connsiteY9" fmla="*/ 1537647 h 2050196"/>
              <a:gd name="connsiteX10" fmla="*/ 0 w 1152939"/>
              <a:gd name="connsiteY10" fmla="*/ 1025098 h 2050196"/>
              <a:gd name="connsiteX11" fmla="*/ 0 w 1152939"/>
              <a:gd name="connsiteY11" fmla="*/ 512549 h 2050196"/>
              <a:gd name="connsiteX12" fmla="*/ 0 w 1152939"/>
              <a:gd name="connsiteY12" fmla="*/ 0 h 20501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152939" h="2050196" fill="none" extrusionOk="0">
                <a:moveTo>
                  <a:pt x="0" y="0"/>
                </a:moveTo>
                <a:cubicBezTo>
                  <a:pt x="186443" y="-4495"/>
                  <a:pt x="434731" y="7946"/>
                  <a:pt x="564940" y="0"/>
                </a:cubicBezTo>
                <a:cubicBezTo>
                  <a:pt x="695149" y="-7946"/>
                  <a:pt x="958524" y="5826"/>
                  <a:pt x="1152939" y="0"/>
                </a:cubicBezTo>
                <a:cubicBezTo>
                  <a:pt x="1182202" y="240010"/>
                  <a:pt x="1150630" y="409872"/>
                  <a:pt x="1152939" y="533051"/>
                </a:cubicBezTo>
                <a:cubicBezTo>
                  <a:pt x="1155248" y="656230"/>
                  <a:pt x="1105233" y="898773"/>
                  <a:pt x="1152939" y="1045600"/>
                </a:cubicBezTo>
                <a:cubicBezTo>
                  <a:pt x="1200645" y="1192427"/>
                  <a:pt x="1115115" y="1384578"/>
                  <a:pt x="1152939" y="1496643"/>
                </a:cubicBezTo>
                <a:cubicBezTo>
                  <a:pt x="1190763" y="1608708"/>
                  <a:pt x="1125834" y="1874577"/>
                  <a:pt x="1152939" y="2050196"/>
                </a:cubicBezTo>
                <a:cubicBezTo>
                  <a:pt x="912624" y="2068303"/>
                  <a:pt x="740878" y="2013885"/>
                  <a:pt x="553411" y="2050196"/>
                </a:cubicBezTo>
                <a:cubicBezTo>
                  <a:pt x="365944" y="2086507"/>
                  <a:pt x="273493" y="2034802"/>
                  <a:pt x="0" y="2050196"/>
                </a:cubicBezTo>
                <a:cubicBezTo>
                  <a:pt x="-59910" y="1910230"/>
                  <a:pt x="1300" y="1692006"/>
                  <a:pt x="0" y="1537647"/>
                </a:cubicBezTo>
                <a:cubicBezTo>
                  <a:pt x="-1300" y="1383288"/>
                  <a:pt x="57060" y="1225674"/>
                  <a:pt x="0" y="1025098"/>
                </a:cubicBezTo>
                <a:cubicBezTo>
                  <a:pt x="-57060" y="824522"/>
                  <a:pt x="50221" y="707719"/>
                  <a:pt x="0" y="512549"/>
                </a:cubicBezTo>
                <a:cubicBezTo>
                  <a:pt x="-50221" y="317379"/>
                  <a:pt x="16031" y="227924"/>
                  <a:pt x="0" y="0"/>
                </a:cubicBezTo>
                <a:close/>
              </a:path>
              <a:path w="1152939" h="2050196" stroke="0" extrusionOk="0">
                <a:moveTo>
                  <a:pt x="0" y="0"/>
                </a:moveTo>
                <a:cubicBezTo>
                  <a:pt x="127787" y="-30745"/>
                  <a:pt x="404798" y="40341"/>
                  <a:pt x="564940" y="0"/>
                </a:cubicBezTo>
                <a:cubicBezTo>
                  <a:pt x="725082" y="-40341"/>
                  <a:pt x="931781" y="56391"/>
                  <a:pt x="1152939" y="0"/>
                </a:cubicBezTo>
                <a:cubicBezTo>
                  <a:pt x="1177351" y="187493"/>
                  <a:pt x="1142857" y="442780"/>
                  <a:pt x="1152939" y="553553"/>
                </a:cubicBezTo>
                <a:cubicBezTo>
                  <a:pt x="1163021" y="664326"/>
                  <a:pt x="1142062" y="931378"/>
                  <a:pt x="1152939" y="1066102"/>
                </a:cubicBezTo>
                <a:cubicBezTo>
                  <a:pt x="1163816" y="1200826"/>
                  <a:pt x="1124605" y="1431002"/>
                  <a:pt x="1152939" y="1537647"/>
                </a:cubicBezTo>
                <a:cubicBezTo>
                  <a:pt x="1181273" y="1644292"/>
                  <a:pt x="1099505" y="1924265"/>
                  <a:pt x="1152939" y="2050196"/>
                </a:cubicBezTo>
                <a:cubicBezTo>
                  <a:pt x="886261" y="2103524"/>
                  <a:pt x="768939" y="2045091"/>
                  <a:pt x="576470" y="2050196"/>
                </a:cubicBezTo>
                <a:cubicBezTo>
                  <a:pt x="384001" y="2055301"/>
                  <a:pt x="173942" y="2011264"/>
                  <a:pt x="0" y="2050196"/>
                </a:cubicBezTo>
                <a:cubicBezTo>
                  <a:pt x="-10570" y="1848967"/>
                  <a:pt x="4307" y="1714693"/>
                  <a:pt x="0" y="1599153"/>
                </a:cubicBezTo>
                <a:cubicBezTo>
                  <a:pt x="-4307" y="1483613"/>
                  <a:pt x="31275" y="1291935"/>
                  <a:pt x="0" y="1107106"/>
                </a:cubicBezTo>
                <a:cubicBezTo>
                  <a:pt x="-31275" y="922277"/>
                  <a:pt x="1382" y="753926"/>
                  <a:pt x="0" y="615059"/>
                </a:cubicBezTo>
                <a:cubicBezTo>
                  <a:pt x="-1382" y="476192"/>
                  <a:pt x="26638" y="212686"/>
                  <a:pt x="0" y="0"/>
                </a:cubicBezTo>
                <a:close/>
              </a:path>
            </a:pathLst>
          </a:custGeom>
          <a:gradFill flip="none" rotWithShape="1">
            <a:gsLst>
              <a:gs pos="36000">
                <a:schemeClr val="accent5">
                  <a:lumMod val="67000"/>
                </a:schemeClr>
              </a:gs>
              <a:gs pos="82000">
                <a:schemeClr val="accent5">
                  <a:lumMod val="97000"/>
                  <a:lumOff val="3000"/>
                  <a:alpha val="61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 w="73025"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10731D1F-4F95-4A4C-A68B-B66AC9B1AE8B}"/>
              </a:ext>
            </a:extLst>
          </p:cNvPr>
          <p:cNvGrpSpPr/>
          <p:nvPr/>
        </p:nvGrpSpPr>
        <p:grpSpPr>
          <a:xfrm>
            <a:off x="1620158" y="4363271"/>
            <a:ext cx="806346" cy="2452143"/>
            <a:chOff x="7747266" y="3493337"/>
            <a:chExt cx="608235" cy="2452143"/>
          </a:xfrm>
        </p:grpSpPr>
        <p:sp>
          <p:nvSpPr>
            <p:cNvPr id="7" name="Isosceles Triangle 90">
              <a:extLst>
                <a:ext uri="{FF2B5EF4-FFF2-40B4-BE49-F238E27FC236}">
                  <a16:creationId xmlns:a16="http://schemas.microsoft.com/office/drawing/2014/main" id="{DDCFC26A-3C81-3542-9E9D-F98BFED22FF1}"/>
                </a:ext>
              </a:extLst>
            </p:cNvPr>
            <p:cNvSpPr/>
            <p:nvPr/>
          </p:nvSpPr>
          <p:spPr>
            <a:xfrm flipV="1">
              <a:off x="7835382" y="3493337"/>
              <a:ext cx="432000" cy="1627386"/>
            </a:xfrm>
            <a:prstGeom prst="triangle">
              <a:avLst/>
            </a:prstGeom>
            <a:solidFill>
              <a:srgbClr val="FFFF00">
                <a:alpha val="30000"/>
              </a:srgbClr>
            </a:solidFill>
            <a:ln w="3175"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Isosceles Triangle 109">
              <a:extLst>
                <a:ext uri="{FF2B5EF4-FFF2-40B4-BE49-F238E27FC236}">
                  <a16:creationId xmlns:a16="http://schemas.microsoft.com/office/drawing/2014/main" id="{D41CCB66-7DAF-F049-8E1C-DAA8DF1B0D3F}"/>
                </a:ext>
              </a:extLst>
            </p:cNvPr>
            <p:cNvSpPr/>
            <p:nvPr/>
          </p:nvSpPr>
          <p:spPr>
            <a:xfrm flipV="1">
              <a:off x="7889382" y="3920720"/>
              <a:ext cx="324000" cy="1085911"/>
            </a:xfrm>
            <a:prstGeom prst="triangle">
              <a:avLst/>
            </a:prstGeom>
            <a:solidFill>
              <a:srgbClr val="FF0000">
                <a:alpha val="40000"/>
              </a:srgbClr>
            </a:solidFill>
            <a:ln w="3175"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9" name="Picture 43">
              <a:extLst>
                <a:ext uri="{FF2B5EF4-FFF2-40B4-BE49-F238E27FC236}">
                  <a16:creationId xmlns:a16="http://schemas.microsoft.com/office/drawing/2014/main" id="{E4FCAC82-23B1-0747-898C-8CF68CF4641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47266" y="5006631"/>
              <a:ext cx="608235" cy="9388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2" name="Triangle 11">
            <a:extLst>
              <a:ext uri="{FF2B5EF4-FFF2-40B4-BE49-F238E27FC236}">
                <a16:creationId xmlns:a16="http://schemas.microsoft.com/office/drawing/2014/main" id="{2279D810-525D-4543-95E1-9C4686053280}"/>
              </a:ext>
            </a:extLst>
          </p:cNvPr>
          <p:cNvSpPr/>
          <p:nvPr/>
        </p:nvSpPr>
        <p:spPr>
          <a:xfrm>
            <a:off x="1552862" y="1569841"/>
            <a:ext cx="1081008" cy="835431"/>
          </a:xfrm>
          <a:custGeom>
            <a:avLst/>
            <a:gdLst>
              <a:gd name="connsiteX0" fmla="*/ 0 w 1081008"/>
              <a:gd name="connsiteY0" fmla="*/ 835431 h 835431"/>
              <a:gd name="connsiteX1" fmla="*/ 259442 w 1081008"/>
              <a:gd name="connsiteY1" fmla="*/ 434424 h 835431"/>
              <a:gd name="connsiteX2" fmla="*/ 540504 w 1081008"/>
              <a:gd name="connsiteY2" fmla="*/ 0 h 835431"/>
              <a:gd name="connsiteX3" fmla="*/ 821566 w 1081008"/>
              <a:gd name="connsiteY3" fmla="*/ 434424 h 835431"/>
              <a:gd name="connsiteX4" fmla="*/ 1081008 w 1081008"/>
              <a:gd name="connsiteY4" fmla="*/ 835431 h 835431"/>
              <a:gd name="connsiteX5" fmla="*/ 572934 w 1081008"/>
              <a:gd name="connsiteY5" fmla="*/ 835431 h 835431"/>
              <a:gd name="connsiteX6" fmla="*/ 0 w 1081008"/>
              <a:gd name="connsiteY6" fmla="*/ 835431 h 8354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81008" h="835431" fill="none" extrusionOk="0">
                <a:moveTo>
                  <a:pt x="0" y="835431"/>
                </a:moveTo>
                <a:cubicBezTo>
                  <a:pt x="27996" y="711252"/>
                  <a:pt x="154704" y="604144"/>
                  <a:pt x="259442" y="434424"/>
                </a:cubicBezTo>
                <a:cubicBezTo>
                  <a:pt x="364180" y="264704"/>
                  <a:pt x="483658" y="177732"/>
                  <a:pt x="540504" y="0"/>
                </a:cubicBezTo>
                <a:cubicBezTo>
                  <a:pt x="696067" y="205290"/>
                  <a:pt x="660753" y="283107"/>
                  <a:pt x="821566" y="434424"/>
                </a:cubicBezTo>
                <a:cubicBezTo>
                  <a:pt x="982379" y="585741"/>
                  <a:pt x="992306" y="716189"/>
                  <a:pt x="1081008" y="835431"/>
                </a:cubicBezTo>
                <a:cubicBezTo>
                  <a:pt x="906270" y="856518"/>
                  <a:pt x="744500" y="789765"/>
                  <a:pt x="572934" y="835431"/>
                </a:cubicBezTo>
                <a:cubicBezTo>
                  <a:pt x="401368" y="881097"/>
                  <a:pt x="261539" y="768849"/>
                  <a:pt x="0" y="835431"/>
                </a:cubicBezTo>
                <a:close/>
              </a:path>
              <a:path w="1081008" h="835431" stroke="0" extrusionOk="0">
                <a:moveTo>
                  <a:pt x="0" y="835431"/>
                </a:moveTo>
                <a:cubicBezTo>
                  <a:pt x="56035" y="684845"/>
                  <a:pt x="157364" y="638899"/>
                  <a:pt x="264847" y="426070"/>
                </a:cubicBezTo>
                <a:cubicBezTo>
                  <a:pt x="372330" y="213241"/>
                  <a:pt x="522900" y="113704"/>
                  <a:pt x="540504" y="0"/>
                </a:cubicBezTo>
                <a:cubicBezTo>
                  <a:pt x="663472" y="81408"/>
                  <a:pt x="716759" y="342163"/>
                  <a:pt x="821566" y="434424"/>
                </a:cubicBezTo>
                <a:cubicBezTo>
                  <a:pt x="926373" y="526685"/>
                  <a:pt x="947968" y="710961"/>
                  <a:pt x="1081008" y="835431"/>
                </a:cubicBezTo>
                <a:cubicBezTo>
                  <a:pt x="869477" y="869615"/>
                  <a:pt x="724932" y="807153"/>
                  <a:pt x="562124" y="835431"/>
                </a:cubicBezTo>
                <a:cubicBezTo>
                  <a:pt x="399316" y="863709"/>
                  <a:pt x="163460" y="794492"/>
                  <a:pt x="0" y="835431"/>
                </a:cubicBezTo>
                <a:close/>
              </a:path>
            </a:pathLst>
          </a:cu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 w="28575">
            <a:extLst>
              <a:ext uri="{C807C97D-BFC1-408E-A445-0C87EB9F89A2}">
                <ask:lineSketchStyleProps xmlns:ask="http://schemas.microsoft.com/office/drawing/2018/sketchyshapes" sd="1219033472">
                  <a:prstGeom prst="triangle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1" name="Picture 43">
            <a:extLst>
              <a:ext uri="{FF2B5EF4-FFF2-40B4-BE49-F238E27FC236}">
                <a16:creationId xmlns:a16="http://schemas.microsoft.com/office/drawing/2014/main" id="{43F66931-6BAC-7546-BC9D-5310E4B92A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6362" y="855200"/>
            <a:ext cx="806346" cy="9388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90D83BDF-6F95-7B46-B4F5-AD3AA6DAEB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56790" y="882736"/>
            <a:ext cx="5735210" cy="5932678"/>
          </a:xfrm>
        </p:spPr>
        <p:txBody>
          <a:bodyPr>
            <a:noAutofit/>
          </a:bodyPr>
          <a:lstStyle/>
          <a:p>
            <a:r>
              <a:rPr lang="en-US" sz="1800" dirty="0"/>
              <a:t>Water Cart Remote Object (RO) enables watering system</a:t>
            </a:r>
          </a:p>
          <a:p>
            <a:pPr lvl="1"/>
            <a:r>
              <a:rPr lang="en-US" sz="1400" dirty="0"/>
              <a:t>Triggers bread-crumbing / wet road hazard geofence</a:t>
            </a:r>
          </a:p>
          <a:p>
            <a:r>
              <a:rPr lang="en-US" sz="1800" dirty="0"/>
              <a:t>When the outer beam of LO breaches the edge of the “Wet Road” bread-crumbs, screen will brighten, and two prompts will be presented to the LO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1400" dirty="0"/>
              <a:t>An icon appears indicating road has been watered ahead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1400" dirty="0"/>
              <a:t>Audible ”Wet road ahead”</a:t>
            </a:r>
          </a:p>
          <a:p>
            <a:pPr>
              <a:lnSpc>
                <a:spcPct val="110000"/>
              </a:lnSpc>
            </a:pPr>
            <a:r>
              <a:rPr lang="en-US" sz="1800" dirty="0"/>
              <a:t>Parameters</a:t>
            </a:r>
          </a:p>
          <a:p>
            <a:pPr lvl="1"/>
            <a:r>
              <a:rPr lang="en-US" sz="1400" dirty="0"/>
              <a:t>Bread-crumb/wet road hazard geofence remains detectable for a configurable time limit</a:t>
            </a:r>
          </a:p>
          <a:p>
            <a:pPr lvl="1"/>
            <a:r>
              <a:rPr lang="en-US" sz="1400" dirty="0"/>
              <a:t>Icon remains displayed on LO CAS screen until </a:t>
            </a:r>
          </a:p>
          <a:p>
            <a:pPr lvl="2">
              <a:buFont typeface="+mj-lt"/>
              <a:buAutoNum type="arabicPeriod"/>
            </a:pPr>
            <a:r>
              <a:rPr lang="en-US" sz="1400" dirty="0"/>
              <a:t>LO leaves bread-crumb trail</a:t>
            </a:r>
          </a:p>
          <a:p>
            <a:pPr lvl="2">
              <a:buFont typeface="+mj-lt"/>
              <a:buAutoNum type="arabicPeriod"/>
            </a:pPr>
            <a:r>
              <a:rPr lang="en-US" sz="1400" dirty="0"/>
              <a:t>The geofence timeout expires (based on individual bread crumb expiry)</a:t>
            </a:r>
          </a:p>
          <a:p>
            <a:r>
              <a:rPr lang="en-US" sz="1800" dirty="0"/>
              <a:t>Audible should trigger once only per entry into geofence</a:t>
            </a:r>
          </a:p>
          <a:p>
            <a:r>
              <a:rPr lang="en-US" sz="1800" dirty="0"/>
              <a:t>Dependencies – </a:t>
            </a:r>
          </a:p>
          <a:p>
            <a:pPr lvl="1"/>
            <a:r>
              <a:rPr lang="en-US" sz="1400" dirty="0"/>
              <a:t>Water Cart and all other equipment will have to communicate with the server in real-time throughout the mine site (zero network blind spots) unless V2X will suffice</a:t>
            </a:r>
            <a:endParaRPr lang="en-US" sz="1800" dirty="0"/>
          </a:p>
          <a:p>
            <a:pPr marL="0" lvl="0" indent="0">
              <a:buNone/>
            </a:pPr>
            <a:r>
              <a:rPr lang="en-US" sz="1200" dirty="0">
                <a:solidFill>
                  <a:prstClr val="black"/>
                </a:solidFill>
              </a:rPr>
              <a:t>Not applicable for wheel loaders, dozers, graders, drills, scrapers, cable </a:t>
            </a:r>
            <a:r>
              <a:rPr lang="en-US" sz="1200" dirty="0" err="1">
                <a:solidFill>
                  <a:prstClr val="black"/>
                </a:solidFill>
              </a:rPr>
              <a:t>reelers</a:t>
            </a:r>
            <a:r>
              <a:rPr lang="en-US" sz="1200" dirty="0">
                <a:solidFill>
                  <a:prstClr val="black"/>
                </a:solidFill>
              </a:rPr>
              <a:t>, and tracked loading units</a:t>
            </a:r>
          </a:p>
          <a:p>
            <a:pPr marL="0" lvl="0" indent="0">
              <a:buNone/>
            </a:pPr>
            <a:r>
              <a:rPr lang="en-US" sz="1200" dirty="0">
                <a:solidFill>
                  <a:prstClr val="black"/>
                </a:solidFill>
              </a:rPr>
              <a:t>Reference EMESRT PR5A for further information and context. </a:t>
            </a:r>
          </a:p>
          <a:p>
            <a:pPr marL="0" lvl="0" indent="0">
              <a:buNone/>
            </a:pPr>
            <a:endParaRPr lang="en-US" sz="1800" dirty="0">
              <a:solidFill>
                <a:prstClr val="black"/>
              </a:solidFill>
            </a:endParaRPr>
          </a:p>
        </p:txBody>
      </p:sp>
      <p:pic>
        <p:nvPicPr>
          <p:cNvPr id="15" name="Graphic 14" descr="Water">
            <a:extLst>
              <a:ext uri="{FF2B5EF4-FFF2-40B4-BE49-F238E27FC236}">
                <a16:creationId xmlns:a16="http://schemas.microsoft.com/office/drawing/2014/main" id="{017DFB21-4F75-1744-8467-3DFEFB542B1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34484" y="2941983"/>
            <a:ext cx="407504" cy="407504"/>
          </a:xfrm>
          <a:prstGeom prst="rect">
            <a:avLst/>
          </a:prstGeom>
        </p:spPr>
      </p:pic>
      <p:pic>
        <p:nvPicPr>
          <p:cNvPr id="17" name="Graphic 16" descr="Slippery">
            <a:extLst>
              <a:ext uri="{FF2B5EF4-FFF2-40B4-BE49-F238E27FC236}">
                <a16:creationId xmlns:a16="http://schemas.microsoft.com/office/drawing/2014/main" id="{807B4DA3-3F0E-1746-B68D-39108C11557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992291" y="2941981"/>
            <a:ext cx="407505" cy="407505"/>
          </a:xfrm>
          <a:prstGeom prst="rect">
            <a:avLst/>
          </a:prstGeom>
        </p:spPr>
      </p:pic>
      <p:grpSp>
        <p:nvGrpSpPr>
          <p:cNvPr id="24" name="Group 23">
            <a:extLst>
              <a:ext uri="{FF2B5EF4-FFF2-40B4-BE49-F238E27FC236}">
                <a16:creationId xmlns:a16="http://schemas.microsoft.com/office/drawing/2014/main" id="{32DA60D6-1C07-4D40-BBE9-A5542B7D7961}"/>
              </a:ext>
            </a:extLst>
          </p:cNvPr>
          <p:cNvGrpSpPr/>
          <p:nvPr/>
        </p:nvGrpSpPr>
        <p:grpSpPr>
          <a:xfrm>
            <a:off x="247286" y="5538954"/>
            <a:ext cx="1506867" cy="1083105"/>
            <a:chOff x="4551062" y="4164748"/>
            <a:chExt cx="1506867" cy="1083105"/>
          </a:xfrm>
        </p:grpSpPr>
        <p:pic>
          <p:nvPicPr>
            <p:cNvPr id="21" name="Graphic 20" descr="Marketing">
              <a:extLst>
                <a:ext uri="{FF2B5EF4-FFF2-40B4-BE49-F238E27FC236}">
                  <a16:creationId xmlns:a16="http://schemas.microsoft.com/office/drawing/2014/main" id="{2B8BF521-B102-5C45-ACA2-E0DBD9C90EE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551062" y="4333453"/>
              <a:ext cx="914400" cy="914400"/>
            </a:xfrm>
            <a:prstGeom prst="rect">
              <a:avLst/>
            </a:prstGeom>
          </p:spPr>
        </p:pic>
        <p:pic>
          <p:nvPicPr>
            <p:cNvPr id="23" name="Graphic 22" descr="Wi-Fi">
              <a:extLst>
                <a:ext uri="{FF2B5EF4-FFF2-40B4-BE49-F238E27FC236}">
                  <a16:creationId xmlns:a16="http://schemas.microsoft.com/office/drawing/2014/main" id="{B3A0D654-876F-7B49-A4D0-3A4D2D81688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 rot="5400000">
              <a:off x="5143529" y="4164748"/>
              <a:ext cx="914400" cy="914400"/>
            </a:xfrm>
            <a:prstGeom prst="rect">
              <a:avLst/>
            </a:prstGeom>
          </p:spPr>
        </p:pic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FCE749F1-1E26-B641-A1ED-76656DD1AE28}"/>
              </a:ext>
            </a:extLst>
          </p:cNvPr>
          <p:cNvSpPr txBox="1"/>
          <p:nvPr/>
        </p:nvSpPr>
        <p:spPr>
          <a:xfrm>
            <a:off x="6559738" y="319628"/>
            <a:ext cx="5529313" cy="3385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cal Object (LO) = Haul Trucks, LV’s &amp; Service Trucks @ &gt;15kph</a:t>
            </a:r>
          </a:p>
        </p:txBody>
      </p:sp>
    </p:spTree>
    <p:extLst>
      <p:ext uri="{BB962C8B-B14F-4D97-AF65-F5344CB8AC3E}">
        <p14:creationId xmlns:p14="http://schemas.microsoft.com/office/powerpoint/2010/main" val="8858875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3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" dur="3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2700" decel="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300" accel="100000" fill="hold">
                                          <p:stCondLst>
                                            <p:cond delay="270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3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3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3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2700" decel="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300" accel="100000" fill="hold">
                                          <p:stCondLst>
                                            <p:cond delay="270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3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3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800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200" accel="100000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1" dur="500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6" presetClass="entr" presetSubtype="21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9" dur="500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52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55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0" dur="500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3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800" decel="100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800" decel="100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800" decel="100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800" decel="100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3" dur="500"/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52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75" dur="1000" ac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from x="100000" y="100000"/>
                                      <p:to x="250000" y="250000"/>
                                    </p:animScale>
                                    <p:animMotion origin="layout" path="M 0.0000 0.0000 C 0.03802 0.0 0.1441 0.02341 0.1826 0.0915 C 0.22118 0.15964 0.24705 0.31256 0.2318 0.4083 C 0.21649 0.50394 0.20747 0.57948 0.0908 0.6661 C -0.02552 0.75279 -0.37517 0.88508 -0.4674 0.9289" pathEditMode="relative" ptsTypes="">
                                      <p:cBhvr>
                                        <p:cTn id="76" dur="1000" ac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out" filter="fade">
                                      <p:cBhvr>
                                        <p:cTn id="7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52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0" dur="1000" ac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from x="100000" y="100000"/>
                                      <p:to x="250000" y="250000"/>
                                    </p:animScale>
                                    <p:animMotion origin="layout" path="M 0.0000 0.0000 C 0.03802 0.0 0.1441 0.02341 0.1826 0.0915 C 0.22118 0.15964 0.24705 0.31256 0.2318 0.4083 C 0.21649 0.50394 0.20747 0.57948 0.0908 0.6661 C -0.02552 0.75279 -0.37517 0.88508 -0.4674 0.9289" pathEditMode="relative" ptsTypes="">
                                      <p:cBhvr>
                                        <p:cTn id="81" dur="1000" ac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out" filter="fade">
                                      <p:cBhvr>
                                        <p:cTn id="82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6" dur="500"/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9" dur="500"/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6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ircle(out)">
                                      <p:cBhvr>
                                        <p:cTn id="91" dur="3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29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7" dur="500"/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2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edge">
                                      <p:cBhvr>
                                        <p:cTn id="99" dur="3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29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2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edge">
                                      <p:cBhvr>
                                        <p:cTn id="102" dur="3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29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4" presetID="42" presetClass="exit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5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6" dur="10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7" dur="10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" fill="hold">
                      <p:stCondLst>
                        <p:cond delay="indefinite"/>
                      </p:stCondLst>
                      <p:childTnLst>
                        <p:par>
                          <p:cTn id="110" fill="hold">
                            <p:stCondLst>
                              <p:cond delay="0"/>
                            </p:stCondLst>
                            <p:childTnLst>
                              <p:par>
                                <p:cTn id="111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3" dur="500"/>
                                        <p:tgtEl>
                                          <p:spTgt spid="1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22" presetClass="exit" presetSubtype="4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115" dur="3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29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22" presetClass="exit" presetSubtype="4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118" dur="3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29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0" fill="hold">
                      <p:stCondLst>
                        <p:cond delay="indefinite"/>
                      </p:stCondLst>
                      <p:childTnLst>
                        <p:par>
                          <p:cTn id="121" fill="hold">
                            <p:stCondLst>
                              <p:cond delay="0"/>
                            </p:stCondLst>
                            <p:childTnLst>
                              <p:par>
                                <p:cTn id="122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4" dur="500"/>
                                        <p:tgtEl>
                                          <p:spTgt spid="1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5" fill="hold">
                      <p:stCondLst>
                        <p:cond delay="indefinite"/>
                      </p:stCondLst>
                      <p:childTnLst>
                        <p:par>
                          <p:cTn id="126" fill="hold">
                            <p:stCondLst>
                              <p:cond delay="0"/>
                            </p:stCondLst>
                            <p:childTnLst>
                              <p:par>
                                <p:cTn id="127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9" dur="500"/>
                                        <p:tgtEl>
                                          <p:spTgt spid="1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0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2" dur="500"/>
                                        <p:tgtEl>
                                          <p:spTgt spid="1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3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5" dur="500"/>
                                        <p:tgtEl>
                                          <p:spTgt spid="1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8" dur="500"/>
                                        <p:tgtEl>
                                          <p:spTgt spid="1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25" grpId="1" animBg="1"/>
      <p:bldP spid="10" grpId="0" animBg="1"/>
      <p:bldP spid="10" grpId="1" animBg="1"/>
      <p:bldP spid="12" grpId="0" animBg="1"/>
      <p:bldP spid="12" grpId="1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hu6Ris9mECUQjQ8ppo5SQ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Custom 14">
      <a:dk1>
        <a:srgbClr val="3F3F3F"/>
      </a:dk1>
      <a:lt1>
        <a:srgbClr val="FFFFFF"/>
      </a:lt1>
      <a:dk2>
        <a:srgbClr val="F2F2F2"/>
      </a:dk2>
      <a:lt2>
        <a:srgbClr val="A5A5A5"/>
      </a:lt2>
      <a:accent1>
        <a:srgbClr val="00194C"/>
      </a:accent1>
      <a:accent2>
        <a:srgbClr val="EAB200"/>
      </a:accent2>
      <a:accent3>
        <a:srgbClr val="F2F2F2"/>
      </a:accent3>
      <a:accent4>
        <a:srgbClr val="954F72"/>
      </a:accent4>
      <a:accent5>
        <a:srgbClr val="00843B"/>
      </a:accent5>
      <a:accent6>
        <a:srgbClr val="014067"/>
      </a:accent6>
      <a:hlink>
        <a:srgbClr val="00194C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F00951641_Hexagon presentation light_AAS_v4" id="{358289A0-A26B-433F-AD2B-1F8832C96153}" vid="{92CDC91D-95BF-4897-87D6-494563DF797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5</TotalTime>
  <Words>322</Words>
  <Application>Microsoft Macintosh PowerPoint</Application>
  <PresentationFormat>Widescreen</PresentationFormat>
  <Paragraphs>29</Paragraphs>
  <Slides>3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3</vt:i4>
      </vt:variant>
    </vt:vector>
  </HeadingPairs>
  <TitlesOfParts>
    <vt:vector size="12" baseType="lpstr">
      <vt:lpstr>Arial</vt:lpstr>
      <vt:lpstr>Calibri</vt:lpstr>
      <vt:lpstr>Calibri Light</vt:lpstr>
      <vt:lpstr>Gill Sans SemiBold</vt:lpstr>
      <vt:lpstr>Montserrat</vt:lpstr>
      <vt:lpstr>Montserrat Medium</vt:lpstr>
      <vt:lpstr>Times New Roman</vt:lpstr>
      <vt:lpstr>1_Office Theme</vt:lpstr>
      <vt:lpstr>2_Office Theme</vt:lpstr>
      <vt:lpstr>PowerPoint Presentation</vt:lpstr>
      <vt:lpstr>Adapting and Using EMESRT Story Boards</vt:lpstr>
      <vt:lpstr>Wet Roads Due to Overwatering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MESRT</dc:creator>
  <cp:lastModifiedBy>Eve McDonald</cp:lastModifiedBy>
  <cp:revision>13</cp:revision>
  <dcterms:created xsi:type="dcterms:W3CDTF">2020-10-07T22:58:51Z</dcterms:created>
  <dcterms:modified xsi:type="dcterms:W3CDTF">2024-05-09T22:57:57Z</dcterms:modified>
</cp:coreProperties>
</file>